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8" r:id="rId2"/>
    <p:sldMasterId id="2147483691" r:id="rId3"/>
    <p:sldMasterId id="2147483675" r:id="rId4"/>
  </p:sldMasterIdLst>
  <p:notesMasterIdLst>
    <p:notesMasterId r:id="rId7"/>
  </p:notesMasterIdLst>
  <p:sldIdLst>
    <p:sldId id="3071" r:id="rId5"/>
    <p:sldId id="3072" r:id="rId6"/>
  </p:sldIdLst>
  <p:sldSz cx="12195175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SAG Gruppe" id="{8BCC833F-9025-462C-B57A-526D856B1ECC}">
          <p14:sldIdLst>
            <p14:sldId id="3071"/>
            <p14:sldId id="3072"/>
          </p14:sldIdLst>
        </p14:section>
        <p14:section name="CASAG + ÖLG" id="{E037EE12-6750-40DD-AC4F-CC76F2854393}">
          <p14:sldIdLst/>
        </p14:section>
        <p14:section name="CASAG" id="{F76461C7-A491-481F-ACAB-1DDEBDA0CEAE}">
          <p14:sldIdLst/>
        </p14:section>
        <p14:section name="ÖLG" id="{235A09E3-D208-4885-9335-86BFA9143ED2}">
          <p14:sldIdLst/>
        </p14:section>
      </p14:sectionLst>
    </p:ext>
    <p:ext uri="{EFAFB233-063F-42B5-8137-9DF3F51BA10A}">
      <p15:sldGuideLst xmlns:p15="http://schemas.microsoft.com/office/powerpoint/2012/main">
        <p15:guide id="2" pos="158" userDrawn="1">
          <p15:clr>
            <a:srgbClr val="A4A3A4"/>
          </p15:clr>
        </p15:guide>
        <p15:guide id="3" pos="5602" userDrawn="1">
          <p15:clr>
            <a:srgbClr val="A4A3A4"/>
          </p15:clr>
        </p15:guide>
        <p15:guide id="4" orient="horz" pos="1025">
          <p15:clr>
            <a:srgbClr val="A4A3A4"/>
          </p15:clr>
        </p15:guide>
        <p15:guide id="5" orient="horz" pos="4042">
          <p15:clr>
            <a:srgbClr val="A4A3A4"/>
          </p15:clr>
        </p15:guide>
        <p15:guide id="6" orient="horz" pos="3792">
          <p15:clr>
            <a:srgbClr val="A4A3A4"/>
          </p15:clr>
        </p15:guide>
        <p15:guide id="7" orient="horz" pos="1026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>
          <p15:clr>
            <a:srgbClr val="A4A3A4"/>
          </p15:clr>
        </p15:guide>
        <p15:guide id="10" pos="211">
          <p15:clr>
            <a:srgbClr val="A4A3A4"/>
          </p15:clr>
        </p15:guide>
        <p15:guide id="11" pos="74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5050"/>
    <a:srgbClr val="5A5A5A"/>
    <a:srgbClr val="8C8C8C"/>
    <a:srgbClr val="A5A5A5"/>
    <a:srgbClr val="C8C8C8"/>
    <a:srgbClr val="8F8F8F"/>
    <a:srgbClr val="969696"/>
    <a:srgbClr val="CDCDCD"/>
    <a:srgbClr val="D2D2D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 snapToObjects="1" showGuides="1">
      <p:cViewPr varScale="1">
        <p:scale>
          <a:sx n="121" d="100"/>
          <a:sy n="121" d="100"/>
        </p:scale>
        <p:origin x="446" y="91"/>
      </p:cViewPr>
      <p:guideLst>
        <p:guide pos="158"/>
        <p:guide pos="5602"/>
        <p:guide orient="horz" pos="1025"/>
        <p:guide orient="horz" pos="4042"/>
        <p:guide orient="horz" pos="3792"/>
        <p:guide orient="horz" pos="1026"/>
        <p:guide orient="horz" pos="3793"/>
        <p:guide orient="horz"/>
        <p:guide pos="211"/>
        <p:guide pos="74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9D34B8-867D-4044-8401-1BD56B6F56DA}" type="datetimeFigureOut">
              <a:rPr lang="de-AT" smtClean="0"/>
              <a:t>15.06.2020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Textmaster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05076D-DD56-44ED-8859-CB09CFE61D1A}" type="slidenum">
              <a:rPr lang="de-AT" smtClean="0"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01429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9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Relationship Id="rId9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4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Relationship Id="rId9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Relationship Id="rId9" Type="http://schemas.openxmlformats.org/officeDocument/2006/relationships/image" Target="../media/image1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Relationship Id="rId9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5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Relationship Id="rId9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SAG Gruppe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78854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8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3000" b="0" i="0" baseline="0" dirty="0" err="1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37A4DAE-EA35-4DED-BDE3-1C6F4FD802F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4965" y="5890145"/>
            <a:ext cx="1865310" cy="455024"/>
            <a:chOff x="2469356" y="3962187"/>
            <a:chExt cx="7253107" cy="1769326"/>
          </a:xfrm>
        </p:grpSpPr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C83265E7-D411-4032-829C-A3E9BFAC03EE}"/>
                </a:ext>
              </a:extLst>
            </p:cNvPr>
            <p:cNvSpPr/>
            <p:nvPr/>
          </p:nvSpPr>
          <p:spPr>
            <a:xfrm>
              <a:off x="5701236" y="3962187"/>
              <a:ext cx="790575" cy="533400"/>
            </a:xfrm>
            <a:custGeom>
              <a:avLst/>
              <a:gdLst>
                <a:gd name="connsiteX0" fmla="*/ 712718 w 790575"/>
                <a:gd name="connsiteY0" fmla="*/ 121568 h 533400"/>
                <a:gd name="connsiteX1" fmla="*/ 541315 w 790575"/>
                <a:gd name="connsiteY1" fmla="*/ 75667 h 533400"/>
                <a:gd name="connsiteX2" fmla="*/ 297780 w 790575"/>
                <a:gd name="connsiteY2" fmla="*/ 254070 h 533400"/>
                <a:gd name="connsiteX3" fmla="*/ 541315 w 790575"/>
                <a:gd name="connsiteY3" fmla="*/ 432616 h 533400"/>
                <a:gd name="connsiteX4" fmla="*/ 770172 w 790575"/>
                <a:gd name="connsiteY4" fmla="*/ 298980 h 533400"/>
                <a:gd name="connsiteX5" fmla="*/ 768134 w 790575"/>
                <a:gd name="connsiteY5" fmla="*/ 302457 h 533400"/>
                <a:gd name="connsiteX6" fmla="*/ 688982 w 790575"/>
                <a:gd name="connsiteY6" fmla="*/ 344519 h 533400"/>
                <a:gd name="connsiteX7" fmla="*/ 593703 w 790575"/>
                <a:gd name="connsiteY7" fmla="*/ 249212 h 533400"/>
                <a:gd name="connsiteX8" fmla="*/ 688982 w 790575"/>
                <a:gd name="connsiteY8" fmla="*/ 153876 h 533400"/>
                <a:gd name="connsiteX9" fmla="*/ 784346 w 790575"/>
                <a:gd name="connsiteY9" fmla="*/ 249212 h 533400"/>
                <a:gd name="connsiteX10" fmla="*/ 786127 w 790575"/>
                <a:gd name="connsiteY10" fmla="*/ 270053 h 533400"/>
                <a:gd name="connsiteX11" fmla="*/ 396583 w 790575"/>
                <a:gd name="connsiteY11" fmla="*/ 532924 h 533400"/>
                <a:gd name="connsiteX12" fmla="*/ 7144 w 790575"/>
                <a:gd name="connsiteY12" fmla="*/ 270053 h 533400"/>
                <a:gd name="connsiteX13" fmla="*/ 396583 w 790575"/>
                <a:gd name="connsiteY13" fmla="*/ 7144 h 533400"/>
                <a:gd name="connsiteX14" fmla="*/ 712718 w 790575"/>
                <a:gd name="connsiteY14" fmla="*/ 121568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0575" h="533400">
                  <a:moveTo>
                    <a:pt x="712718" y="121568"/>
                  </a:moveTo>
                  <a:cubicBezTo>
                    <a:pt x="668874" y="90268"/>
                    <a:pt x="608171" y="75667"/>
                    <a:pt x="541315" y="75667"/>
                  </a:cubicBezTo>
                  <a:cubicBezTo>
                    <a:pt x="406698" y="75667"/>
                    <a:pt x="297780" y="155524"/>
                    <a:pt x="297780" y="254070"/>
                  </a:cubicBezTo>
                  <a:cubicBezTo>
                    <a:pt x="297780" y="352596"/>
                    <a:pt x="406698" y="432616"/>
                    <a:pt x="541315" y="432616"/>
                  </a:cubicBezTo>
                  <a:cubicBezTo>
                    <a:pt x="654110" y="432616"/>
                    <a:pt x="744722" y="348015"/>
                    <a:pt x="770172" y="298980"/>
                  </a:cubicBezTo>
                  <a:lnTo>
                    <a:pt x="768134" y="302457"/>
                  </a:lnTo>
                  <a:cubicBezTo>
                    <a:pt x="750904" y="327793"/>
                    <a:pt x="721976" y="344519"/>
                    <a:pt x="688982" y="344519"/>
                  </a:cubicBezTo>
                  <a:cubicBezTo>
                    <a:pt x="636413" y="344519"/>
                    <a:pt x="593703" y="301752"/>
                    <a:pt x="593703" y="249212"/>
                  </a:cubicBezTo>
                  <a:cubicBezTo>
                    <a:pt x="593703" y="196425"/>
                    <a:pt x="636413" y="153876"/>
                    <a:pt x="688982" y="153876"/>
                  </a:cubicBezTo>
                  <a:cubicBezTo>
                    <a:pt x="741693" y="153876"/>
                    <a:pt x="784346" y="196415"/>
                    <a:pt x="784346" y="249212"/>
                  </a:cubicBezTo>
                  <a:lnTo>
                    <a:pt x="786127" y="270053"/>
                  </a:lnTo>
                  <a:cubicBezTo>
                    <a:pt x="786127" y="415242"/>
                    <a:pt x="611705" y="532924"/>
                    <a:pt x="396583" y="532924"/>
                  </a:cubicBezTo>
                  <a:cubicBezTo>
                    <a:pt x="181537" y="532924"/>
                    <a:pt x="7144" y="415252"/>
                    <a:pt x="7144" y="270053"/>
                  </a:cubicBezTo>
                  <a:cubicBezTo>
                    <a:pt x="7144" y="124958"/>
                    <a:pt x="181537" y="7144"/>
                    <a:pt x="396583" y="7144"/>
                  </a:cubicBezTo>
                  <a:cubicBezTo>
                    <a:pt x="527313" y="7144"/>
                    <a:pt x="642156" y="54740"/>
                    <a:pt x="712718" y="121568"/>
                  </a:cubicBezTo>
                </a:path>
              </a:pathLst>
            </a:custGeom>
            <a:solidFill>
              <a:srgbClr val="D6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D6E6A2AE-7C56-40A3-A1B1-FC1276076B10}"/>
                </a:ext>
              </a:extLst>
            </p:cNvPr>
            <p:cNvSpPr/>
            <p:nvPr/>
          </p:nvSpPr>
          <p:spPr>
            <a:xfrm>
              <a:off x="3006719" y="4736341"/>
              <a:ext cx="533400" cy="704850"/>
            </a:xfrm>
            <a:custGeom>
              <a:avLst/>
              <a:gdLst>
                <a:gd name="connsiteX0" fmla="*/ 311248 w 533400"/>
                <a:gd name="connsiteY0" fmla="*/ 398507 h 704850"/>
                <a:gd name="connsiteX1" fmla="*/ 207874 w 533400"/>
                <a:gd name="connsiteY1" fmla="*/ 398507 h 704850"/>
                <a:gd name="connsiteX2" fmla="*/ 259480 w 533400"/>
                <a:gd name="connsiteY2" fmla="*/ 199901 h 704850"/>
                <a:gd name="connsiteX3" fmla="*/ 311248 w 533400"/>
                <a:gd name="connsiteY3" fmla="*/ 398507 h 704850"/>
                <a:gd name="connsiteX4" fmla="*/ 305010 w 533400"/>
                <a:gd name="connsiteY4" fmla="*/ 703974 h 704850"/>
                <a:gd name="connsiteX5" fmla="*/ 527733 w 533400"/>
                <a:gd name="connsiteY5" fmla="*/ 703974 h 704850"/>
                <a:gd name="connsiteX6" fmla="*/ 527847 w 533400"/>
                <a:gd name="connsiteY6" fmla="*/ 652815 h 704850"/>
                <a:gd name="connsiteX7" fmla="*/ 492966 w 533400"/>
                <a:gd name="connsiteY7" fmla="*/ 609876 h 704850"/>
                <a:gd name="connsiteX8" fmla="*/ 333061 w 533400"/>
                <a:gd name="connsiteY8" fmla="*/ 7144 h 704850"/>
                <a:gd name="connsiteX9" fmla="*/ 220161 w 533400"/>
                <a:gd name="connsiteY9" fmla="*/ 7144 h 704850"/>
                <a:gd name="connsiteX10" fmla="*/ 65446 w 533400"/>
                <a:gd name="connsiteY10" fmla="*/ 592703 h 704850"/>
                <a:gd name="connsiteX11" fmla="*/ 7144 w 533400"/>
                <a:gd name="connsiteY11" fmla="*/ 654253 h 704850"/>
                <a:gd name="connsiteX12" fmla="*/ 7144 w 533400"/>
                <a:gd name="connsiteY12" fmla="*/ 703974 h 704850"/>
                <a:gd name="connsiteX13" fmla="*/ 214189 w 533400"/>
                <a:gd name="connsiteY13" fmla="*/ 703974 h 704850"/>
                <a:gd name="connsiteX14" fmla="*/ 214189 w 533400"/>
                <a:gd name="connsiteY14" fmla="*/ 654253 h 704850"/>
                <a:gd name="connsiteX15" fmla="*/ 166621 w 533400"/>
                <a:gd name="connsiteY15" fmla="*/ 629793 h 704850"/>
                <a:gd name="connsiteX16" fmla="*/ 155696 w 533400"/>
                <a:gd name="connsiteY16" fmla="*/ 591150 h 704850"/>
                <a:gd name="connsiteX17" fmla="*/ 190919 w 533400"/>
                <a:gd name="connsiteY17" fmla="*/ 464182 h 704850"/>
                <a:gd name="connsiteX18" fmla="*/ 328251 w 533400"/>
                <a:gd name="connsiteY18" fmla="*/ 464182 h 704850"/>
                <a:gd name="connsiteX19" fmla="*/ 363445 w 533400"/>
                <a:gd name="connsiteY19" fmla="*/ 590702 h 704850"/>
                <a:gd name="connsiteX20" fmla="*/ 352539 w 533400"/>
                <a:gd name="connsiteY20" fmla="*/ 629793 h 704850"/>
                <a:gd name="connsiteX21" fmla="*/ 305000 w 533400"/>
                <a:gd name="connsiteY21" fmla="*/ 654253 h 704850"/>
                <a:gd name="connsiteX22" fmla="*/ 305000 w 533400"/>
                <a:gd name="connsiteY22" fmla="*/ 703974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33400" h="704850">
                  <a:moveTo>
                    <a:pt x="311248" y="398507"/>
                  </a:moveTo>
                  <a:lnTo>
                    <a:pt x="207874" y="398507"/>
                  </a:lnTo>
                  <a:lnTo>
                    <a:pt x="259480" y="199901"/>
                  </a:lnTo>
                  <a:lnTo>
                    <a:pt x="311248" y="398507"/>
                  </a:lnTo>
                  <a:close/>
                  <a:moveTo>
                    <a:pt x="305010" y="703974"/>
                  </a:moveTo>
                  <a:lnTo>
                    <a:pt x="527733" y="703974"/>
                  </a:lnTo>
                  <a:lnTo>
                    <a:pt x="527847" y="652815"/>
                  </a:lnTo>
                  <a:cubicBezTo>
                    <a:pt x="510616" y="644080"/>
                    <a:pt x="497996" y="628583"/>
                    <a:pt x="492966" y="609876"/>
                  </a:cubicBezTo>
                  <a:lnTo>
                    <a:pt x="333061" y="7144"/>
                  </a:lnTo>
                  <a:lnTo>
                    <a:pt x="220161" y="7144"/>
                  </a:lnTo>
                  <a:lnTo>
                    <a:pt x="65446" y="592703"/>
                  </a:lnTo>
                  <a:cubicBezTo>
                    <a:pt x="61636" y="606885"/>
                    <a:pt x="46301" y="651539"/>
                    <a:pt x="7144" y="654253"/>
                  </a:cubicBezTo>
                  <a:lnTo>
                    <a:pt x="7144" y="703974"/>
                  </a:lnTo>
                  <a:lnTo>
                    <a:pt x="214189" y="703974"/>
                  </a:lnTo>
                  <a:lnTo>
                    <a:pt x="214189" y="654253"/>
                  </a:lnTo>
                  <a:cubicBezTo>
                    <a:pt x="196082" y="653044"/>
                    <a:pt x="178260" y="643804"/>
                    <a:pt x="166621" y="629793"/>
                  </a:cubicBezTo>
                  <a:cubicBezTo>
                    <a:pt x="156905" y="618096"/>
                    <a:pt x="153038" y="604399"/>
                    <a:pt x="155696" y="591150"/>
                  </a:cubicBezTo>
                  <a:lnTo>
                    <a:pt x="190919" y="464182"/>
                  </a:lnTo>
                  <a:lnTo>
                    <a:pt x="328251" y="464182"/>
                  </a:lnTo>
                  <a:lnTo>
                    <a:pt x="363445" y="590702"/>
                  </a:lnTo>
                  <a:cubicBezTo>
                    <a:pt x="366160" y="604399"/>
                    <a:pt x="362283" y="618096"/>
                    <a:pt x="352539" y="629793"/>
                  </a:cubicBezTo>
                  <a:cubicBezTo>
                    <a:pt x="340985" y="643804"/>
                    <a:pt x="323107" y="653034"/>
                    <a:pt x="305000" y="654253"/>
                  </a:cubicBezTo>
                  <a:lnTo>
                    <a:pt x="305000" y="70397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2">
              <a:extLst>
                <a:ext uri="{FF2B5EF4-FFF2-40B4-BE49-F238E27FC236}">
                  <a16:creationId xmlns:a16="http://schemas.microsoft.com/office/drawing/2014/main" id="{8423679F-B75D-46EE-9C9C-47ABC0070B0F}"/>
                </a:ext>
              </a:extLst>
            </p:cNvPr>
            <p:cNvSpPr/>
            <p:nvPr/>
          </p:nvSpPr>
          <p:spPr>
            <a:xfrm>
              <a:off x="4027675" y="4736494"/>
              <a:ext cx="247650" cy="704850"/>
            </a:xfrm>
            <a:custGeom>
              <a:avLst/>
              <a:gdLst>
                <a:gd name="connsiteX0" fmla="*/ 7144 w 247650"/>
                <a:gd name="connsiteY0" fmla="*/ 704488 h 704850"/>
                <a:gd name="connsiteX1" fmla="*/ 240573 w 247650"/>
                <a:gd name="connsiteY1" fmla="*/ 704488 h 704850"/>
                <a:gd name="connsiteX2" fmla="*/ 240573 w 247650"/>
                <a:gd name="connsiteY2" fmla="*/ 654634 h 704850"/>
                <a:gd name="connsiteX3" fmla="*/ 181956 w 247650"/>
                <a:gd name="connsiteY3" fmla="*/ 592465 h 704850"/>
                <a:gd name="connsiteX4" fmla="*/ 181956 w 247650"/>
                <a:gd name="connsiteY4" fmla="*/ 119253 h 704850"/>
                <a:gd name="connsiteX5" fmla="*/ 240573 w 247650"/>
                <a:gd name="connsiteY5" fmla="*/ 56769 h 704850"/>
                <a:gd name="connsiteX6" fmla="*/ 240573 w 247650"/>
                <a:gd name="connsiteY6" fmla="*/ 7144 h 704850"/>
                <a:gd name="connsiteX7" fmla="*/ 7144 w 247650"/>
                <a:gd name="connsiteY7" fmla="*/ 7144 h 704850"/>
                <a:gd name="connsiteX8" fmla="*/ 7144 w 247650"/>
                <a:gd name="connsiteY8" fmla="*/ 56769 h 704850"/>
                <a:gd name="connsiteX9" fmla="*/ 65694 w 247650"/>
                <a:gd name="connsiteY9" fmla="*/ 119253 h 704850"/>
                <a:gd name="connsiteX10" fmla="*/ 65694 w 247650"/>
                <a:gd name="connsiteY10" fmla="*/ 592474 h 704850"/>
                <a:gd name="connsiteX11" fmla="*/ 7144 w 247650"/>
                <a:gd name="connsiteY11" fmla="*/ 654644 h 704850"/>
                <a:gd name="connsiteX12" fmla="*/ 7144 w 247650"/>
                <a:gd name="connsiteY12" fmla="*/ 704488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7650" h="704850">
                  <a:moveTo>
                    <a:pt x="7144" y="704488"/>
                  </a:moveTo>
                  <a:lnTo>
                    <a:pt x="240573" y="704488"/>
                  </a:lnTo>
                  <a:lnTo>
                    <a:pt x="240573" y="654634"/>
                  </a:lnTo>
                  <a:cubicBezTo>
                    <a:pt x="208007" y="652682"/>
                    <a:pt x="181956" y="625478"/>
                    <a:pt x="181956" y="592465"/>
                  </a:cubicBezTo>
                  <a:lnTo>
                    <a:pt x="181956" y="119253"/>
                  </a:lnTo>
                  <a:cubicBezTo>
                    <a:pt x="181956" y="86096"/>
                    <a:pt x="207997" y="58807"/>
                    <a:pt x="240573" y="56769"/>
                  </a:cubicBezTo>
                  <a:lnTo>
                    <a:pt x="240573" y="7144"/>
                  </a:lnTo>
                  <a:lnTo>
                    <a:pt x="7144" y="7144"/>
                  </a:lnTo>
                  <a:lnTo>
                    <a:pt x="7144" y="56769"/>
                  </a:lnTo>
                  <a:cubicBezTo>
                    <a:pt x="39767" y="58798"/>
                    <a:pt x="65694" y="86087"/>
                    <a:pt x="65694" y="119253"/>
                  </a:cubicBezTo>
                  <a:lnTo>
                    <a:pt x="65694" y="592474"/>
                  </a:lnTo>
                  <a:cubicBezTo>
                    <a:pt x="65694" y="625497"/>
                    <a:pt x="39767" y="652701"/>
                    <a:pt x="7144" y="654644"/>
                  </a:cubicBezTo>
                  <a:lnTo>
                    <a:pt x="7144" y="70448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3">
              <a:extLst>
                <a:ext uri="{FF2B5EF4-FFF2-40B4-BE49-F238E27FC236}">
                  <a16:creationId xmlns:a16="http://schemas.microsoft.com/office/drawing/2014/main" id="{A2E45EB4-0823-404F-942E-A2C5F3D234C4}"/>
                </a:ext>
              </a:extLst>
            </p:cNvPr>
            <p:cNvSpPr/>
            <p:nvPr/>
          </p:nvSpPr>
          <p:spPr>
            <a:xfrm>
              <a:off x="4880505" y="4724968"/>
              <a:ext cx="495300" cy="733425"/>
            </a:xfrm>
            <a:custGeom>
              <a:avLst/>
              <a:gdLst>
                <a:gd name="connsiteX0" fmla="*/ 248088 w 495300"/>
                <a:gd name="connsiteY0" fmla="*/ 650967 h 733425"/>
                <a:gd name="connsiteX1" fmla="*/ 137074 w 495300"/>
                <a:gd name="connsiteY1" fmla="*/ 366979 h 733425"/>
                <a:gd name="connsiteX2" fmla="*/ 248088 w 495300"/>
                <a:gd name="connsiteY2" fmla="*/ 83125 h 733425"/>
                <a:gd name="connsiteX3" fmla="*/ 359102 w 495300"/>
                <a:gd name="connsiteY3" fmla="*/ 366979 h 733425"/>
                <a:gd name="connsiteX4" fmla="*/ 248088 w 495300"/>
                <a:gd name="connsiteY4" fmla="*/ 650967 h 733425"/>
                <a:gd name="connsiteX5" fmla="*/ 248088 w 495300"/>
                <a:gd name="connsiteY5" fmla="*/ 7144 h 733425"/>
                <a:gd name="connsiteX6" fmla="*/ 7144 w 495300"/>
                <a:gd name="connsiteY6" fmla="*/ 366979 h 733425"/>
                <a:gd name="connsiteX7" fmla="*/ 248088 w 495300"/>
                <a:gd name="connsiteY7" fmla="*/ 727043 h 733425"/>
                <a:gd name="connsiteX8" fmla="*/ 489147 w 495300"/>
                <a:gd name="connsiteY8" fmla="*/ 366979 h 733425"/>
                <a:gd name="connsiteX9" fmla="*/ 248088 w 495300"/>
                <a:gd name="connsiteY9" fmla="*/ 7144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5300" h="733425">
                  <a:moveTo>
                    <a:pt x="248088" y="650967"/>
                  </a:moveTo>
                  <a:cubicBezTo>
                    <a:pt x="185833" y="650967"/>
                    <a:pt x="137074" y="526228"/>
                    <a:pt x="137074" y="366979"/>
                  </a:cubicBezTo>
                  <a:cubicBezTo>
                    <a:pt x="137074" y="207778"/>
                    <a:pt x="185833" y="83125"/>
                    <a:pt x="248088" y="83125"/>
                  </a:cubicBezTo>
                  <a:cubicBezTo>
                    <a:pt x="310344" y="83125"/>
                    <a:pt x="359102" y="207778"/>
                    <a:pt x="359102" y="366979"/>
                  </a:cubicBezTo>
                  <a:cubicBezTo>
                    <a:pt x="359092" y="526228"/>
                    <a:pt x="310344" y="650967"/>
                    <a:pt x="248088" y="650967"/>
                  </a:cubicBezTo>
                  <a:moveTo>
                    <a:pt x="248088" y="7144"/>
                  </a:moveTo>
                  <a:cubicBezTo>
                    <a:pt x="115214" y="7144"/>
                    <a:pt x="7144" y="168488"/>
                    <a:pt x="7144" y="366979"/>
                  </a:cubicBezTo>
                  <a:cubicBezTo>
                    <a:pt x="7144" y="565585"/>
                    <a:pt x="115214" y="727043"/>
                    <a:pt x="248088" y="727043"/>
                  </a:cubicBezTo>
                  <a:cubicBezTo>
                    <a:pt x="380962" y="727043"/>
                    <a:pt x="489147" y="565585"/>
                    <a:pt x="489147" y="366979"/>
                  </a:cubicBezTo>
                  <a:cubicBezTo>
                    <a:pt x="489147" y="168488"/>
                    <a:pt x="380952" y="7144"/>
                    <a:pt x="248088" y="7144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14">
              <a:extLst>
                <a:ext uri="{FF2B5EF4-FFF2-40B4-BE49-F238E27FC236}">
                  <a16:creationId xmlns:a16="http://schemas.microsoft.com/office/drawing/2014/main" id="{7076DD4E-7B03-43E8-8444-6D7955602AC0}"/>
                </a:ext>
              </a:extLst>
            </p:cNvPr>
            <p:cNvSpPr/>
            <p:nvPr/>
          </p:nvSpPr>
          <p:spPr>
            <a:xfrm>
              <a:off x="3566341" y="4725111"/>
              <a:ext cx="409575" cy="733425"/>
            </a:xfrm>
            <a:custGeom>
              <a:avLst/>
              <a:gdLst>
                <a:gd name="connsiteX0" fmla="*/ 116777 w 409575"/>
                <a:gd name="connsiteY0" fmla="*/ 692210 h 733425"/>
                <a:gd name="connsiteX1" fmla="*/ 120872 w 409575"/>
                <a:gd name="connsiteY1" fmla="*/ 695487 h 733425"/>
                <a:gd name="connsiteX2" fmla="*/ 216856 w 409575"/>
                <a:gd name="connsiteY2" fmla="*/ 727158 h 733425"/>
                <a:gd name="connsiteX3" fmla="*/ 218580 w 409575"/>
                <a:gd name="connsiteY3" fmla="*/ 727158 h 733425"/>
                <a:gd name="connsiteX4" fmla="*/ 318202 w 409575"/>
                <a:gd name="connsiteY4" fmla="*/ 695973 h 733425"/>
                <a:gd name="connsiteX5" fmla="*/ 403879 w 409575"/>
                <a:gd name="connsiteY5" fmla="*/ 496329 h 733425"/>
                <a:gd name="connsiteX6" fmla="*/ 233915 w 409575"/>
                <a:gd name="connsiteY6" fmla="*/ 288369 h 733425"/>
                <a:gd name="connsiteX7" fmla="*/ 111690 w 409575"/>
                <a:gd name="connsiteY7" fmla="*/ 172364 h 733425"/>
                <a:gd name="connsiteX8" fmla="*/ 179765 w 409575"/>
                <a:gd name="connsiteY8" fmla="*/ 81486 h 733425"/>
                <a:gd name="connsiteX9" fmla="*/ 317154 w 409575"/>
                <a:gd name="connsiteY9" fmla="*/ 225828 h 733425"/>
                <a:gd name="connsiteX10" fmla="*/ 361359 w 409575"/>
                <a:gd name="connsiteY10" fmla="*/ 200435 h 733425"/>
                <a:gd name="connsiteX11" fmla="*/ 328251 w 409575"/>
                <a:gd name="connsiteY11" fmla="*/ 23746 h 733425"/>
                <a:gd name="connsiteX12" fmla="*/ 272606 w 409575"/>
                <a:gd name="connsiteY12" fmla="*/ 23746 h 733425"/>
                <a:gd name="connsiteX13" fmla="*/ 262433 w 409575"/>
                <a:gd name="connsiteY13" fmla="*/ 47587 h 733425"/>
                <a:gd name="connsiteX14" fmla="*/ 258137 w 409575"/>
                <a:gd name="connsiteY14" fmla="*/ 44453 h 733425"/>
                <a:gd name="connsiteX15" fmla="*/ 162354 w 409575"/>
                <a:gd name="connsiteY15" fmla="*/ 7144 h 733425"/>
                <a:gd name="connsiteX16" fmla="*/ 7144 w 409575"/>
                <a:gd name="connsiteY16" fmla="*/ 207778 h 733425"/>
                <a:gd name="connsiteX17" fmla="*/ 177327 w 409575"/>
                <a:gd name="connsiteY17" fmla="*/ 412737 h 733425"/>
                <a:gd name="connsiteX18" fmla="*/ 304324 w 409575"/>
                <a:gd name="connsiteY18" fmla="*/ 536772 h 733425"/>
                <a:gd name="connsiteX19" fmla="*/ 207693 w 409575"/>
                <a:gd name="connsiteY19" fmla="*/ 651767 h 733425"/>
                <a:gd name="connsiteX20" fmla="*/ 206531 w 409575"/>
                <a:gd name="connsiteY20" fmla="*/ 651767 h 733425"/>
                <a:gd name="connsiteX21" fmla="*/ 58798 w 409575"/>
                <a:gd name="connsiteY21" fmla="*/ 463420 h 733425"/>
                <a:gd name="connsiteX22" fmla="*/ 7468 w 409575"/>
                <a:gd name="connsiteY22" fmla="*/ 492623 h 733425"/>
                <a:gd name="connsiteX23" fmla="*/ 50797 w 409575"/>
                <a:gd name="connsiteY23" fmla="*/ 716166 h 733425"/>
                <a:gd name="connsiteX24" fmla="*/ 106442 w 409575"/>
                <a:gd name="connsiteY24" fmla="*/ 716166 h 733425"/>
                <a:gd name="connsiteX25" fmla="*/ 116777 w 409575"/>
                <a:gd name="connsiteY25" fmla="*/ 69221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575" h="733425">
                  <a:moveTo>
                    <a:pt x="116777" y="692210"/>
                  </a:moveTo>
                  <a:lnTo>
                    <a:pt x="120872" y="695487"/>
                  </a:lnTo>
                  <a:cubicBezTo>
                    <a:pt x="145761" y="715404"/>
                    <a:pt x="180699" y="727158"/>
                    <a:pt x="216856" y="727158"/>
                  </a:cubicBezTo>
                  <a:lnTo>
                    <a:pt x="218580" y="727158"/>
                  </a:lnTo>
                  <a:cubicBezTo>
                    <a:pt x="227505" y="727158"/>
                    <a:pt x="274253" y="725691"/>
                    <a:pt x="318202" y="695973"/>
                  </a:cubicBezTo>
                  <a:cubicBezTo>
                    <a:pt x="374952" y="657844"/>
                    <a:pt x="403879" y="590436"/>
                    <a:pt x="403879" y="496329"/>
                  </a:cubicBezTo>
                  <a:cubicBezTo>
                    <a:pt x="403879" y="338795"/>
                    <a:pt x="313515" y="311963"/>
                    <a:pt x="233915" y="288369"/>
                  </a:cubicBezTo>
                  <a:cubicBezTo>
                    <a:pt x="170983" y="269672"/>
                    <a:pt x="111690" y="252070"/>
                    <a:pt x="111690" y="172364"/>
                  </a:cubicBezTo>
                  <a:cubicBezTo>
                    <a:pt x="111690" y="137246"/>
                    <a:pt x="130140" y="81486"/>
                    <a:pt x="179765" y="81486"/>
                  </a:cubicBezTo>
                  <a:cubicBezTo>
                    <a:pt x="242192" y="81486"/>
                    <a:pt x="275301" y="130016"/>
                    <a:pt x="317154" y="225828"/>
                  </a:cubicBezTo>
                  <a:lnTo>
                    <a:pt x="361359" y="200435"/>
                  </a:lnTo>
                  <a:lnTo>
                    <a:pt x="328251" y="23746"/>
                  </a:lnTo>
                  <a:lnTo>
                    <a:pt x="272606" y="23746"/>
                  </a:lnTo>
                  <a:lnTo>
                    <a:pt x="262433" y="47587"/>
                  </a:lnTo>
                  <a:lnTo>
                    <a:pt x="258137" y="44453"/>
                  </a:lnTo>
                  <a:cubicBezTo>
                    <a:pt x="229467" y="21155"/>
                    <a:pt x="193643" y="7144"/>
                    <a:pt x="162354" y="7144"/>
                  </a:cubicBezTo>
                  <a:cubicBezTo>
                    <a:pt x="47930" y="7144"/>
                    <a:pt x="7144" y="110871"/>
                    <a:pt x="7144" y="207778"/>
                  </a:cubicBezTo>
                  <a:cubicBezTo>
                    <a:pt x="7144" y="353501"/>
                    <a:pt x="97565" y="385020"/>
                    <a:pt x="177327" y="412737"/>
                  </a:cubicBezTo>
                  <a:cubicBezTo>
                    <a:pt x="242516" y="435645"/>
                    <a:pt x="304324" y="456971"/>
                    <a:pt x="304324" y="536772"/>
                  </a:cubicBezTo>
                  <a:cubicBezTo>
                    <a:pt x="304324" y="648824"/>
                    <a:pt x="217494" y="651767"/>
                    <a:pt x="207693" y="651767"/>
                  </a:cubicBezTo>
                  <a:lnTo>
                    <a:pt x="206531" y="651767"/>
                  </a:lnTo>
                  <a:cubicBezTo>
                    <a:pt x="145856" y="651767"/>
                    <a:pt x="112300" y="609429"/>
                    <a:pt x="58798" y="463420"/>
                  </a:cubicBezTo>
                  <a:lnTo>
                    <a:pt x="7468" y="492623"/>
                  </a:lnTo>
                  <a:lnTo>
                    <a:pt x="50797" y="716166"/>
                  </a:lnTo>
                  <a:lnTo>
                    <a:pt x="106442" y="716166"/>
                  </a:lnTo>
                  <a:lnTo>
                    <a:pt x="116777" y="69221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5">
              <a:extLst>
                <a:ext uri="{FF2B5EF4-FFF2-40B4-BE49-F238E27FC236}">
                  <a16:creationId xmlns:a16="http://schemas.microsoft.com/office/drawing/2014/main" id="{4DFE46E3-AF5C-462E-8D77-669F51812418}"/>
                </a:ext>
              </a:extLst>
            </p:cNvPr>
            <p:cNvSpPr/>
            <p:nvPr/>
          </p:nvSpPr>
          <p:spPr>
            <a:xfrm>
              <a:off x="8252079" y="4737208"/>
              <a:ext cx="485775" cy="704850"/>
            </a:xfrm>
            <a:custGeom>
              <a:avLst/>
              <a:gdLst>
                <a:gd name="connsiteX0" fmla="*/ 235420 w 485775"/>
                <a:gd name="connsiteY0" fmla="*/ 319345 h 704850"/>
                <a:gd name="connsiteX1" fmla="*/ 181499 w 485775"/>
                <a:gd name="connsiteY1" fmla="*/ 319345 h 704850"/>
                <a:gd name="connsiteX2" fmla="*/ 181499 w 485775"/>
                <a:gd name="connsiteY2" fmla="*/ 125825 h 704850"/>
                <a:gd name="connsiteX3" fmla="*/ 240163 w 485775"/>
                <a:gd name="connsiteY3" fmla="*/ 68685 h 704850"/>
                <a:gd name="connsiteX4" fmla="*/ 341738 w 485775"/>
                <a:gd name="connsiteY4" fmla="*/ 193558 h 704850"/>
                <a:gd name="connsiteX5" fmla="*/ 235420 w 485775"/>
                <a:gd name="connsiteY5" fmla="*/ 319345 h 704850"/>
                <a:gd name="connsiteX6" fmla="*/ 339957 w 485775"/>
                <a:gd name="connsiteY6" fmla="*/ 703774 h 704850"/>
                <a:gd name="connsiteX7" fmla="*/ 486670 w 485775"/>
                <a:gd name="connsiteY7" fmla="*/ 703774 h 704850"/>
                <a:gd name="connsiteX8" fmla="*/ 486670 w 485775"/>
                <a:gd name="connsiteY8" fmla="*/ 653920 h 704850"/>
                <a:gd name="connsiteX9" fmla="*/ 428397 w 485775"/>
                <a:gd name="connsiteY9" fmla="*/ 593017 h 704850"/>
                <a:gd name="connsiteX10" fmla="*/ 330994 w 485775"/>
                <a:gd name="connsiteY10" fmla="*/ 375542 h 704850"/>
                <a:gd name="connsiteX11" fmla="*/ 335489 w 485775"/>
                <a:gd name="connsiteY11" fmla="*/ 374437 h 704850"/>
                <a:gd name="connsiteX12" fmla="*/ 453733 w 485775"/>
                <a:gd name="connsiteY12" fmla="*/ 202863 h 704850"/>
                <a:gd name="connsiteX13" fmla="*/ 303514 w 485775"/>
                <a:gd name="connsiteY13" fmla="*/ 7144 h 704850"/>
                <a:gd name="connsiteX14" fmla="*/ 7144 w 485775"/>
                <a:gd name="connsiteY14" fmla="*/ 7144 h 704850"/>
                <a:gd name="connsiteX15" fmla="*/ 7144 w 485775"/>
                <a:gd name="connsiteY15" fmla="*/ 57026 h 704850"/>
                <a:gd name="connsiteX16" fmla="*/ 65684 w 485775"/>
                <a:gd name="connsiteY16" fmla="*/ 119396 h 704850"/>
                <a:gd name="connsiteX17" fmla="*/ 65684 w 485775"/>
                <a:gd name="connsiteY17" fmla="*/ 591798 h 704850"/>
                <a:gd name="connsiteX18" fmla="*/ 7144 w 485775"/>
                <a:gd name="connsiteY18" fmla="*/ 654196 h 704850"/>
                <a:gd name="connsiteX19" fmla="*/ 7144 w 485775"/>
                <a:gd name="connsiteY19" fmla="*/ 703764 h 704850"/>
                <a:gd name="connsiteX20" fmla="*/ 240154 w 485775"/>
                <a:gd name="connsiteY20" fmla="*/ 703764 h 704850"/>
                <a:gd name="connsiteX21" fmla="*/ 240154 w 485775"/>
                <a:gd name="connsiteY21" fmla="*/ 654206 h 704850"/>
                <a:gd name="connsiteX22" fmla="*/ 181490 w 485775"/>
                <a:gd name="connsiteY22" fmla="*/ 591807 h 704850"/>
                <a:gd name="connsiteX23" fmla="*/ 181490 w 485775"/>
                <a:gd name="connsiteY23" fmla="*/ 396364 h 704850"/>
                <a:gd name="connsiteX24" fmla="*/ 204235 w 485775"/>
                <a:gd name="connsiteY24" fmla="*/ 396364 h 704850"/>
                <a:gd name="connsiteX25" fmla="*/ 339957 w 485775"/>
                <a:gd name="connsiteY25" fmla="*/ 703774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85775" h="704850">
                  <a:moveTo>
                    <a:pt x="235420" y="319345"/>
                  </a:moveTo>
                  <a:lnTo>
                    <a:pt x="181499" y="319345"/>
                  </a:lnTo>
                  <a:lnTo>
                    <a:pt x="181499" y="125825"/>
                  </a:lnTo>
                  <a:cubicBezTo>
                    <a:pt x="181499" y="92612"/>
                    <a:pt x="206216" y="68685"/>
                    <a:pt x="240163" y="68685"/>
                  </a:cubicBezTo>
                  <a:cubicBezTo>
                    <a:pt x="324060" y="68685"/>
                    <a:pt x="341738" y="136531"/>
                    <a:pt x="341738" y="193558"/>
                  </a:cubicBezTo>
                  <a:cubicBezTo>
                    <a:pt x="341738" y="250955"/>
                    <a:pt x="323231" y="319345"/>
                    <a:pt x="235420" y="319345"/>
                  </a:cubicBezTo>
                  <a:moveTo>
                    <a:pt x="339957" y="703774"/>
                  </a:moveTo>
                  <a:lnTo>
                    <a:pt x="486670" y="703774"/>
                  </a:lnTo>
                  <a:lnTo>
                    <a:pt x="486670" y="653920"/>
                  </a:lnTo>
                  <a:cubicBezTo>
                    <a:pt x="449523" y="650386"/>
                    <a:pt x="429320" y="595503"/>
                    <a:pt x="428397" y="593017"/>
                  </a:cubicBezTo>
                  <a:lnTo>
                    <a:pt x="330994" y="375542"/>
                  </a:lnTo>
                  <a:lnTo>
                    <a:pt x="335489" y="374437"/>
                  </a:lnTo>
                  <a:cubicBezTo>
                    <a:pt x="379648" y="362464"/>
                    <a:pt x="453733" y="324193"/>
                    <a:pt x="453733" y="202863"/>
                  </a:cubicBezTo>
                  <a:cubicBezTo>
                    <a:pt x="453733" y="40929"/>
                    <a:pt x="371933" y="7144"/>
                    <a:pt x="303514" y="7144"/>
                  </a:cubicBezTo>
                  <a:lnTo>
                    <a:pt x="7144" y="7144"/>
                  </a:lnTo>
                  <a:lnTo>
                    <a:pt x="7144" y="57026"/>
                  </a:lnTo>
                  <a:cubicBezTo>
                    <a:pt x="39777" y="59007"/>
                    <a:pt x="65684" y="86230"/>
                    <a:pt x="65684" y="119396"/>
                  </a:cubicBezTo>
                  <a:lnTo>
                    <a:pt x="65684" y="591798"/>
                  </a:lnTo>
                  <a:cubicBezTo>
                    <a:pt x="65684" y="624992"/>
                    <a:pt x="39777" y="651967"/>
                    <a:pt x="7144" y="654196"/>
                  </a:cubicBezTo>
                  <a:lnTo>
                    <a:pt x="7144" y="703764"/>
                  </a:lnTo>
                  <a:lnTo>
                    <a:pt x="240154" y="703764"/>
                  </a:lnTo>
                  <a:lnTo>
                    <a:pt x="240154" y="654206"/>
                  </a:lnTo>
                  <a:cubicBezTo>
                    <a:pt x="207702" y="651977"/>
                    <a:pt x="181490" y="625002"/>
                    <a:pt x="181490" y="591807"/>
                  </a:cubicBezTo>
                  <a:lnTo>
                    <a:pt x="181490" y="396364"/>
                  </a:lnTo>
                  <a:lnTo>
                    <a:pt x="204235" y="396364"/>
                  </a:lnTo>
                  <a:lnTo>
                    <a:pt x="339957" y="70377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16">
              <a:extLst>
                <a:ext uri="{FF2B5EF4-FFF2-40B4-BE49-F238E27FC236}">
                  <a16:creationId xmlns:a16="http://schemas.microsoft.com/office/drawing/2014/main" id="{5A7410F2-3A38-4100-8F3C-A11C0E483894}"/>
                </a:ext>
              </a:extLst>
            </p:cNvPr>
            <p:cNvSpPr/>
            <p:nvPr/>
          </p:nvSpPr>
          <p:spPr>
            <a:xfrm>
              <a:off x="5433831" y="4725111"/>
              <a:ext cx="409575" cy="733425"/>
            </a:xfrm>
            <a:custGeom>
              <a:avLst/>
              <a:gdLst>
                <a:gd name="connsiteX0" fmla="*/ 116824 w 409575"/>
                <a:gd name="connsiteY0" fmla="*/ 692210 h 733425"/>
                <a:gd name="connsiteX1" fmla="*/ 120920 w 409575"/>
                <a:gd name="connsiteY1" fmla="*/ 695487 h 733425"/>
                <a:gd name="connsiteX2" fmla="*/ 216846 w 409575"/>
                <a:gd name="connsiteY2" fmla="*/ 727158 h 733425"/>
                <a:gd name="connsiteX3" fmla="*/ 218627 w 409575"/>
                <a:gd name="connsiteY3" fmla="*/ 727158 h 733425"/>
                <a:gd name="connsiteX4" fmla="*/ 403755 w 409575"/>
                <a:gd name="connsiteY4" fmla="*/ 496329 h 733425"/>
                <a:gd name="connsiteX5" fmla="*/ 233963 w 409575"/>
                <a:gd name="connsiteY5" fmla="*/ 288369 h 733425"/>
                <a:gd name="connsiteX6" fmla="*/ 111681 w 409575"/>
                <a:gd name="connsiteY6" fmla="*/ 172364 h 733425"/>
                <a:gd name="connsiteX7" fmla="*/ 179813 w 409575"/>
                <a:gd name="connsiteY7" fmla="*/ 81486 h 733425"/>
                <a:gd name="connsiteX8" fmla="*/ 317145 w 409575"/>
                <a:gd name="connsiteY8" fmla="*/ 225828 h 733425"/>
                <a:gd name="connsiteX9" fmla="*/ 361350 w 409575"/>
                <a:gd name="connsiteY9" fmla="*/ 200435 h 733425"/>
                <a:gd name="connsiteX10" fmla="*/ 328241 w 409575"/>
                <a:gd name="connsiteY10" fmla="*/ 23746 h 733425"/>
                <a:gd name="connsiteX11" fmla="*/ 272596 w 409575"/>
                <a:gd name="connsiteY11" fmla="*/ 23746 h 733425"/>
                <a:gd name="connsiteX12" fmla="*/ 262433 w 409575"/>
                <a:gd name="connsiteY12" fmla="*/ 47587 h 733425"/>
                <a:gd name="connsiteX13" fmla="*/ 258251 w 409575"/>
                <a:gd name="connsiteY13" fmla="*/ 44453 h 733425"/>
                <a:gd name="connsiteX14" fmla="*/ 162354 w 409575"/>
                <a:gd name="connsiteY14" fmla="*/ 7144 h 733425"/>
                <a:gd name="connsiteX15" fmla="*/ 7144 w 409575"/>
                <a:gd name="connsiteY15" fmla="*/ 207778 h 733425"/>
                <a:gd name="connsiteX16" fmla="*/ 177327 w 409575"/>
                <a:gd name="connsiteY16" fmla="*/ 412737 h 733425"/>
                <a:gd name="connsiteX17" fmla="*/ 304324 w 409575"/>
                <a:gd name="connsiteY17" fmla="*/ 536772 h 733425"/>
                <a:gd name="connsiteX18" fmla="*/ 207750 w 409575"/>
                <a:gd name="connsiteY18" fmla="*/ 651767 h 733425"/>
                <a:gd name="connsiteX19" fmla="*/ 206540 w 409575"/>
                <a:gd name="connsiteY19" fmla="*/ 651767 h 733425"/>
                <a:gd name="connsiteX20" fmla="*/ 58865 w 409575"/>
                <a:gd name="connsiteY20" fmla="*/ 463420 h 733425"/>
                <a:gd name="connsiteX21" fmla="*/ 7544 w 409575"/>
                <a:gd name="connsiteY21" fmla="*/ 492623 h 733425"/>
                <a:gd name="connsiteX22" fmla="*/ 50930 w 409575"/>
                <a:gd name="connsiteY22" fmla="*/ 716166 h 733425"/>
                <a:gd name="connsiteX23" fmla="*/ 106461 w 409575"/>
                <a:gd name="connsiteY23" fmla="*/ 716166 h 733425"/>
                <a:gd name="connsiteX24" fmla="*/ 116824 w 409575"/>
                <a:gd name="connsiteY24" fmla="*/ 69221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09575" h="733425">
                  <a:moveTo>
                    <a:pt x="116824" y="692210"/>
                  </a:moveTo>
                  <a:lnTo>
                    <a:pt x="120920" y="695487"/>
                  </a:lnTo>
                  <a:cubicBezTo>
                    <a:pt x="145866" y="715404"/>
                    <a:pt x="180804" y="727158"/>
                    <a:pt x="216846" y="727158"/>
                  </a:cubicBezTo>
                  <a:lnTo>
                    <a:pt x="218627" y="727158"/>
                  </a:lnTo>
                  <a:cubicBezTo>
                    <a:pt x="237554" y="727158"/>
                    <a:pt x="403755" y="720662"/>
                    <a:pt x="403755" y="496329"/>
                  </a:cubicBezTo>
                  <a:cubicBezTo>
                    <a:pt x="403755" y="338795"/>
                    <a:pt x="313563" y="311963"/>
                    <a:pt x="233963" y="288369"/>
                  </a:cubicBezTo>
                  <a:cubicBezTo>
                    <a:pt x="171079" y="269672"/>
                    <a:pt x="111681" y="252070"/>
                    <a:pt x="111681" y="172364"/>
                  </a:cubicBezTo>
                  <a:cubicBezTo>
                    <a:pt x="111681" y="137246"/>
                    <a:pt x="130131" y="81486"/>
                    <a:pt x="179813" y="81486"/>
                  </a:cubicBezTo>
                  <a:cubicBezTo>
                    <a:pt x="242183" y="81486"/>
                    <a:pt x="275397" y="130016"/>
                    <a:pt x="317145" y="225828"/>
                  </a:cubicBezTo>
                  <a:lnTo>
                    <a:pt x="361350" y="200435"/>
                  </a:lnTo>
                  <a:lnTo>
                    <a:pt x="328241" y="23746"/>
                  </a:lnTo>
                  <a:lnTo>
                    <a:pt x="272596" y="23746"/>
                  </a:lnTo>
                  <a:lnTo>
                    <a:pt x="262433" y="47587"/>
                  </a:lnTo>
                  <a:lnTo>
                    <a:pt x="258251" y="44453"/>
                  </a:lnTo>
                  <a:cubicBezTo>
                    <a:pt x="229496" y="21155"/>
                    <a:pt x="193596" y="7144"/>
                    <a:pt x="162354" y="7144"/>
                  </a:cubicBezTo>
                  <a:cubicBezTo>
                    <a:pt x="47987" y="7144"/>
                    <a:pt x="7144" y="110871"/>
                    <a:pt x="7144" y="207778"/>
                  </a:cubicBezTo>
                  <a:cubicBezTo>
                    <a:pt x="7144" y="353501"/>
                    <a:pt x="97622" y="385020"/>
                    <a:pt x="177327" y="412737"/>
                  </a:cubicBezTo>
                  <a:cubicBezTo>
                    <a:pt x="242688" y="435645"/>
                    <a:pt x="304324" y="456971"/>
                    <a:pt x="304324" y="536772"/>
                  </a:cubicBezTo>
                  <a:cubicBezTo>
                    <a:pt x="304324" y="648824"/>
                    <a:pt x="217608" y="651767"/>
                    <a:pt x="207750" y="651767"/>
                  </a:cubicBezTo>
                  <a:lnTo>
                    <a:pt x="206540" y="651767"/>
                  </a:lnTo>
                  <a:cubicBezTo>
                    <a:pt x="145866" y="651767"/>
                    <a:pt x="112424" y="609429"/>
                    <a:pt x="58865" y="463420"/>
                  </a:cubicBezTo>
                  <a:lnTo>
                    <a:pt x="7544" y="492623"/>
                  </a:lnTo>
                  <a:lnTo>
                    <a:pt x="50930" y="716166"/>
                  </a:lnTo>
                  <a:lnTo>
                    <a:pt x="106461" y="716166"/>
                  </a:lnTo>
                  <a:lnTo>
                    <a:pt x="116824" y="69221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17">
              <a:extLst>
                <a:ext uri="{FF2B5EF4-FFF2-40B4-BE49-F238E27FC236}">
                  <a16:creationId xmlns:a16="http://schemas.microsoft.com/office/drawing/2014/main" id="{C82DDAE8-307D-43BB-B34E-1F355DA7B8E6}"/>
                </a:ext>
              </a:extLst>
            </p:cNvPr>
            <p:cNvSpPr/>
            <p:nvPr/>
          </p:nvSpPr>
          <p:spPr>
            <a:xfrm>
              <a:off x="7733233" y="4737065"/>
              <a:ext cx="476250" cy="704850"/>
            </a:xfrm>
            <a:custGeom>
              <a:avLst/>
              <a:gdLst>
                <a:gd name="connsiteX0" fmla="*/ 123940 w 476250"/>
                <a:gd name="connsiteY0" fmla="*/ 704202 h 704850"/>
                <a:gd name="connsiteX1" fmla="*/ 360255 w 476250"/>
                <a:gd name="connsiteY1" fmla="*/ 704202 h 704850"/>
                <a:gd name="connsiteX2" fmla="*/ 360255 w 476250"/>
                <a:gd name="connsiteY2" fmla="*/ 653806 h 704850"/>
                <a:gd name="connsiteX3" fmla="*/ 300685 w 476250"/>
                <a:gd name="connsiteY3" fmla="*/ 590674 h 704850"/>
                <a:gd name="connsiteX4" fmla="*/ 300685 w 476250"/>
                <a:gd name="connsiteY4" fmla="*/ 84039 h 704850"/>
                <a:gd name="connsiteX5" fmla="*/ 306867 w 476250"/>
                <a:gd name="connsiteY5" fmla="*/ 83925 h 704850"/>
                <a:gd name="connsiteX6" fmla="*/ 310620 w 476250"/>
                <a:gd name="connsiteY6" fmla="*/ 83753 h 704850"/>
                <a:gd name="connsiteX7" fmla="*/ 422138 w 476250"/>
                <a:gd name="connsiteY7" fmla="*/ 223971 h 704850"/>
                <a:gd name="connsiteX8" fmla="*/ 477060 w 476250"/>
                <a:gd name="connsiteY8" fmla="*/ 196768 h 704850"/>
                <a:gd name="connsiteX9" fmla="*/ 430139 w 476250"/>
                <a:gd name="connsiteY9" fmla="*/ 7144 h 704850"/>
                <a:gd name="connsiteX10" fmla="*/ 53950 w 476250"/>
                <a:gd name="connsiteY10" fmla="*/ 7144 h 704850"/>
                <a:gd name="connsiteX11" fmla="*/ 7144 w 476250"/>
                <a:gd name="connsiteY11" fmla="*/ 196653 h 704850"/>
                <a:gd name="connsiteX12" fmla="*/ 62112 w 476250"/>
                <a:gd name="connsiteY12" fmla="*/ 223971 h 704850"/>
                <a:gd name="connsiteX13" fmla="*/ 173622 w 476250"/>
                <a:gd name="connsiteY13" fmla="*/ 83753 h 704850"/>
                <a:gd name="connsiteX14" fmla="*/ 177641 w 476250"/>
                <a:gd name="connsiteY14" fmla="*/ 83925 h 704850"/>
                <a:gd name="connsiteX15" fmla="*/ 183347 w 476250"/>
                <a:gd name="connsiteY15" fmla="*/ 84039 h 704850"/>
                <a:gd name="connsiteX16" fmla="*/ 183347 w 476250"/>
                <a:gd name="connsiteY16" fmla="*/ 590674 h 704850"/>
                <a:gd name="connsiteX17" fmla="*/ 123949 w 476250"/>
                <a:gd name="connsiteY17" fmla="*/ 653806 h 704850"/>
                <a:gd name="connsiteX18" fmla="*/ 123949 w 476250"/>
                <a:gd name="connsiteY18" fmla="*/ 704202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76250" h="704850">
                  <a:moveTo>
                    <a:pt x="123940" y="704202"/>
                  </a:moveTo>
                  <a:lnTo>
                    <a:pt x="360255" y="704202"/>
                  </a:lnTo>
                  <a:lnTo>
                    <a:pt x="360255" y="653806"/>
                  </a:lnTo>
                  <a:cubicBezTo>
                    <a:pt x="327117" y="651605"/>
                    <a:pt x="300685" y="624116"/>
                    <a:pt x="300685" y="590674"/>
                  </a:cubicBezTo>
                  <a:lnTo>
                    <a:pt x="300685" y="84039"/>
                  </a:lnTo>
                  <a:lnTo>
                    <a:pt x="306867" y="83925"/>
                  </a:lnTo>
                  <a:cubicBezTo>
                    <a:pt x="307905" y="83925"/>
                    <a:pt x="309124" y="83753"/>
                    <a:pt x="310620" y="83753"/>
                  </a:cubicBezTo>
                  <a:cubicBezTo>
                    <a:pt x="347339" y="83753"/>
                    <a:pt x="383762" y="129683"/>
                    <a:pt x="422138" y="223971"/>
                  </a:cubicBezTo>
                  <a:lnTo>
                    <a:pt x="477060" y="196768"/>
                  </a:lnTo>
                  <a:lnTo>
                    <a:pt x="430139" y="7144"/>
                  </a:lnTo>
                  <a:lnTo>
                    <a:pt x="53950" y="7144"/>
                  </a:lnTo>
                  <a:lnTo>
                    <a:pt x="7144" y="196653"/>
                  </a:lnTo>
                  <a:lnTo>
                    <a:pt x="62112" y="223971"/>
                  </a:lnTo>
                  <a:cubicBezTo>
                    <a:pt x="100269" y="129683"/>
                    <a:pt x="136731" y="83753"/>
                    <a:pt x="173622" y="83753"/>
                  </a:cubicBezTo>
                  <a:cubicBezTo>
                    <a:pt x="175117" y="83753"/>
                    <a:pt x="176336" y="83925"/>
                    <a:pt x="177641" y="83925"/>
                  </a:cubicBezTo>
                  <a:lnTo>
                    <a:pt x="183347" y="84039"/>
                  </a:lnTo>
                  <a:lnTo>
                    <a:pt x="183347" y="590674"/>
                  </a:lnTo>
                  <a:cubicBezTo>
                    <a:pt x="183347" y="624116"/>
                    <a:pt x="157163" y="651605"/>
                    <a:pt x="123949" y="653806"/>
                  </a:cubicBezTo>
                  <a:lnTo>
                    <a:pt x="123949" y="70420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18">
              <a:extLst>
                <a:ext uri="{FF2B5EF4-FFF2-40B4-BE49-F238E27FC236}">
                  <a16:creationId xmlns:a16="http://schemas.microsoft.com/office/drawing/2014/main" id="{A36C8B70-E45A-4697-AFA4-D7540A60C885}"/>
                </a:ext>
              </a:extLst>
            </p:cNvPr>
            <p:cNvSpPr/>
            <p:nvPr/>
          </p:nvSpPr>
          <p:spPr>
            <a:xfrm>
              <a:off x="6743662" y="4737256"/>
              <a:ext cx="504825" cy="714375"/>
            </a:xfrm>
            <a:custGeom>
              <a:avLst/>
              <a:gdLst>
                <a:gd name="connsiteX0" fmla="*/ 7144 w 504825"/>
                <a:gd name="connsiteY0" fmla="*/ 56769 h 714375"/>
                <a:gd name="connsiteX1" fmla="*/ 66485 w 504825"/>
                <a:gd name="connsiteY1" fmla="*/ 119253 h 714375"/>
                <a:gd name="connsiteX2" fmla="*/ 66485 w 504825"/>
                <a:gd name="connsiteY2" fmla="*/ 446808 h 714375"/>
                <a:gd name="connsiteX3" fmla="*/ 117700 w 504825"/>
                <a:gd name="connsiteY3" fmla="*/ 658597 h 714375"/>
                <a:gd name="connsiteX4" fmla="*/ 261166 w 504825"/>
                <a:gd name="connsiteY4" fmla="*/ 715289 h 714375"/>
                <a:gd name="connsiteX5" fmla="*/ 413137 w 504825"/>
                <a:gd name="connsiteY5" fmla="*/ 646166 h 714375"/>
                <a:gd name="connsiteX6" fmla="*/ 446275 w 504825"/>
                <a:gd name="connsiteY6" fmla="*/ 463010 h 714375"/>
                <a:gd name="connsiteX7" fmla="*/ 445818 w 504825"/>
                <a:gd name="connsiteY7" fmla="*/ 424815 h 714375"/>
                <a:gd name="connsiteX8" fmla="*/ 445818 w 504825"/>
                <a:gd name="connsiteY8" fmla="*/ 165068 h 714375"/>
                <a:gd name="connsiteX9" fmla="*/ 503015 w 504825"/>
                <a:gd name="connsiteY9" fmla="*/ 57140 h 714375"/>
                <a:gd name="connsiteX10" fmla="*/ 503015 w 504825"/>
                <a:gd name="connsiteY10" fmla="*/ 7144 h 714375"/>
                <a:gd name="connsiteX11" fmla="*/ 312353 w 504825"/>
                <a:gd name="connsiteY11" fmla="*/ 7144 h 714375"/>
                <a:gd name="connsiteX12" fmla="*/ 312353 w 504825"/>
                <a:gd name="connsiteY12" fmla="*/ 56769 h 714375"/>
                <a:gd name="connsiteX13" fmla="*/ 313849 w 504825"/>
                <a:gd name="connsiteY13" fmla="*/ 56769 h 714375"/>
                <a:gd name="connsiteX14" fmla="*/ 367484 w 504825"/>
                <a:gd name="connsiteY14" fmla="*/ 85239 h 714375"/>
                <a:gd name="connsiteX15" fmla="*/ 375990 w 504825"/>
                <a:gd name="connsiteY15" fmla="*/ 157553 h 714375"/>
                <a:gd name="connsiteX16" fmla="*/ 375990 w 504825"/>
                <a:gd name="connsiteY16" fmla="*/ 163906 h 714375"/>
                <a:gd name="connsiteX17" fmla="*/ 375990 w 504825"/>
                <a:gd name="connsiteY17" fmla="*/ 460524 h 714375"/>
                <a:gd name="connsiteX18" fmla="*/ 352520 w 504825"/>
                <a:gd name="connsiteY18" fmla="*/ 596675 h 714375"/>
                <a:gd name="connsiteX19" fmla="*/ 274644 w 504825"/>
                <a:gd name="connsiteY19" fmla="*/ 641642 h 714375"/>
                <a:gd name="connsiteX20" fmla="*/ 194272 w 504825"/>
                <a:gd name="connsiteY20" fmla="*/ 605714 h 714375"/>
                <a:gd name="connsiteX21" fmla="*/ 181337 w 504825"/>
                <a:gd name="connsiteY21" fmla="*/ 512645 h 714375"/>
                <a:gd name="connsiteX22" fmla="*/ 181851 w 504825"/>
                <a:gd name="connsiteY22" fmla="*/ 451999 h 714375"/>
                <a:gd name="connsiteX23" fmla="*/ 181851 w 504825"/>
                <a:gd name="connsiteY23" fmla="*/ 119253 h 714375"/>
                <a:gd name="connsiteX24" fmla="*/ 240516 w 504825"/>
                <a:gd name="connsiteY24" fmla="*/ 56769 h 714375"/>
                <a:gd name="connsiteX25" fmla="*/ 240516 w 504825"/>
                <a:gd name="connsiteY25" fmla="*/ 7144 h 714375"/>
                <a:gd name="connsiteX26" fmla="*/ 7144 w 504825"/>
                <a:gd name="connsiteY26" fmla="*/ 7144 h 714375"/>
                <a:gd name="connsiteX27" fmla="*/ 7144 w 504825"/>
                <a:gd name="connsiteY27" fmla="*/ 56769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04825" h="714375">
                  <a:moveTo>
                    <a:pt x="7144" y="56769"/>
                  </a:moveTo>
                  <a:cubicBezTo>
                    <a:pt x="40110" y="58969"/>
                    <a:pt x="66485" y="86058"/>
                    <a:pt x="66485" y="119253"/>
                  </a:cubicBezTo>
                  <a:lnTo>
                    <a:pt x="66485" y="446808"/>
                  </a:lnTo>
                  <a:cubicBezTo>
                    <a:pt x="64875" y="536600"/>
                    <a:pt x="67761" y="604228"/>
                    <a:pt x="117700" y="658597"/>
                  </a:cubicBezTo>
                  <a:cubicBezTo>
                    <a:pt x="160915" y="705517"/>
                    <a:pt x="219503" y="715289"/>
                    <a:pt x="261166" y="715289"/>
                  </a:cubicBezTo>
                  <a:cubicBezTo>
                    <a:pt x="327346" y="715289"/>
                    <a:pt x="378705" y="692039"/>
                    <a:pt x="413137" y="646166"/>
                  </a:cubicBezTo>
                  <a:cubicBezTo>
                    <a:pt x="449056" y="597494"/>
                    <a:pt x="447532" y="529114"/>
                    <a:pt x="446275" y="463010"/>
                  </a:cubicBezTo>
                  <a:cubicBezTo>
                    <a:pt x="446046" y="450275"/>
                    <a:pt x="445818" y="437302"/>
                    <a:pt x="445818" y="424815"/>
                  </a:cubicBezTo>
                  <a:lnTo>
                    <a:pt x="445818" y="165068"/>
                  </a:lnTo>
                  <a:cubicBezTo>
                    <a:pt x="445818" y="93459"/>
                    <a:pt x="445818" y="65865"/>
                    <a:pt x="503015" y="57140"/>
                  </a:cubicBezTo>
                  <a:lnTo>
                    <a:pt x="503015" y="7144"/>
                  </a:lnTo>
                  <a:lnTo>
                    <a:pt x="312353" y="7144"/>
                  </a:lnTo>
                  <a:lnTo>
                    <a:pt x="312353" y="56769"/>
                  </a:lnTo>
                  <a:lnTo>
                    <a:pt x="313849" y="56769"/>
                  </a:lnTo>
                  <a:cubicBezTo>
                    <a:pt x="330289" y="59198"/>
                    <a:pt x="357997" y="66094"/>
                    <a:pt x="367484" y="85239"/>
                  </a:cubicBezTo>
                  <a:cubicBezTo>
                    <a:pt x="376218" y="102413"/>
                    <a:pt x="375990" y="135741"/>
                    <a:pt x="375990" y="157553"/>
                  </a:cubicBezTo>
                  <a:lnTo>
                    <a:pt x="375990" y="163906"/>
                  </a:lnTo>
                  <a:lnTo>
                    <a:pt x="375990" y="460524"/>
                  </a:lnTo>
                  <a:cubicBezTo>
                    <a:pt x="375990" y="505406"/>
                    <a:pt x="375990" y="561061"/>
                    <a:pt x="352520" y="596675"/>
                  </a:cubicBezTo>
                  <a:cubicBezTo>
                    <a:pt x="333365" y="626135"/>
                    <a:pt x="306334" y="641642"/>
                    <a:pt x="274644" y="641642"/>
                  </a:cubicBezTo>
                  <a:cubicBezTo>
                    <a:pt x="224247" y="641642"/>
                    <a:pt x="200073" y="618144"/>
                    <a:pt x="194272" y="605714"/>
                  </a:cubicBezTo>
                  <a:cubicBezTo>
                    <a:pt x="180575" y="576786"/>
                    <a:pt x="180575" y="569500"/>
                    <a:pt x="181337" y="512645"/>
                  </a:cubicBezTo>
                  <a:cubicBezTo>
                    <a:pt x="181566" y="496910"/>
                    <a:pt x="181851" y="476993"/>
                    <a:pt x="181851" y="451999"/>
                  </a:cubicBezTo>
                  <a:lnTo>
                    <a:pt x="181851" y="119253"/>
                  </a:lnTo>
                  <a:cubicBezTo>
                    <a:pt x="181851" y="86068"/>
                    <a:pt x="207759" y="58969"/>
                    <a:pt x="240516" y="56769"/>
                  </a:cubicBezTo>
                  <a:lnTo>
                    <a:pt x="240516" y="7144"/>
                  </a:lnTo>
                  <a:lnTo>
                    <a:pt x="7144" y="7144"/>
                  </a:lnTo>
                  <a:lnTo>
                    <a:pt x="7144" y="5676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19">
              <a:extLst>
                <a:ext uri="{FF2B5EF4-FFF2-40B4-BE49-F238E27FC236}">
                  <a16:creationId xmlns:a16="http://schemas.microsoft.com/office/drawing/2014/main" id="{EDBF84C4-1FA0-4536-981F-264289AA614D}"/>
                </a:ext>
              </a:extLst>
            </p:cNvPr>
            <p:cNvSpPr/>
            <p:nvPr/>
          </p:nvSpPr>
          <p:spPr>
            <a:xfrm>
              <a:off x="6214453" y="4736341"/>
              <a:ext cx="533400" cy="704850"/>
            </a:xfrm>
            <a:custGeom>
              <a:avLst/>
              <a:gdLst>
                <a:gd name="connsiteX0" fmla="*/ 311305 w 533400"/>
                <a:gd name="connsiteY0" fmla="*/ 398507 h 704850"/>
                <a:gd name="connsiteX1" fmla="*/ 207778 w 533400"/>
                <a:gd name="connsiteY1" fmla="*/ 398507 h 704850"/>
                <a:gd name="connsiteX2" fmla="*/ 259413 w 533400"/>
                <a:gd name="connsiteY2" fmla="*/ 199901 h 704850"/>
                <a:gd name="connsiteX3" fmla="*/ 311305 w 533400"/>
                <a:gd name="connsiteY3" fmla="*/ 398507 h 704850"/>
                <a:gd name="connsiteX4" fmla="*/ 304838 w 533400"/>
                <a:gd name="connsiteY4" fmla="*/ 703974 h 704850"/>
                <a:gd name="connsiteX5" fmla="*/ 527685 w 533400"/>
                <a:gd name="connsiteY5" fmla="*/ 703974 h 704850"/>
                <a:gd name="connsiteX6" fmla="*/ 527685 w 533400"/>
                <a:gd name="connsiteY6" fmla="*/ 652815 h 704850"/>
                <a:gd name="connsiteX7" fmla="*/ 492795 w 533400"/>
                <a:gd name="connsiteY7" fmla="*/ 609876 h 704850"/>
                <a:gd name="connsiteX8" fmla="*/ 333061 w 533400"/>
                <a:gd name="connsiteY8" fmla="*/ 7144 h 704850"/>
                <a:gd name="connsiteX9" fmla="*/ 220046 w 533400"/>
                <a:gd name="connsiteY9" fmla="*/ 7144 h 704850"/>
                <a:gd name="connsiteX10" fmla="*/ 65503 w 533400"/>
                <a:gd name="connsiteY10" fmla="*/ 592703 h 704850"/>
                <a:gd name="connsiteX11" fmla="*/ 7144 w 533400"/>
                <a:gd name="connsiteY11" fmla="*/ 654253 h 704850"/>
                <a:gd name="connsiteX12" fmla="*/ 7144 w 533400"/>
                <a:gd name="connsiteY12" fmla="*/ 703974 h 704850"/>
                <a:gd name="connsiteX13" fmla="*/ 214027 w 533400"/>
                <a:gd name="connsiteY13" fmla="*/ 703974 h 704850"/>
                <a:gd name="connsiteX14" fmla="*/ 214027 w 533400"/>
                <a:gd name="connsiteY14" fmla="*/ 654253 h 704850"/>
                <a:gd name="connsiteX15" fmla="*/ 166573 w 533400"/>
                <a:gd name="connsiteY15" fmla="*/ 629793 h 704850"/>
                <a:gd name="connsiteX16" fmla="*/ 155648 w 533400"/>
                <a:gd name="connsiteY16" fmla="*/ 591150 h 704850"/>
                <a:gd name="connsiteX17" fmla="*/ 190767 w 533400"/>
                <a:gd name="connsiteY17" fmla="*/ 464182 h 704850"/>
                <a:gd name="connsiteX18" fmla="*/ 328289 w 533400"/>
                <a:gd name="connsiteY18" fmla="*/ 464182 h 704850"/>
                <a:gd name="connsiteX19" fmla="*/ 363236 w 533400"/>
                <a:gd name="connsiteY19" fmla="*/ 590702 h 704850"/>
                <a:gd name="connsiteX20" fmla="*/ 352530 w 533400"/>
                <a:gd name="connsiteY20" fmla="*/ 629793 h 704850"/>
                <a:gd name="connsiteX21" fmla="*/ 304848 w 533400"/>
                <a:gd name="connsiteY21" fmla="*/ 654253 h 704850"/>
                <a:gd name="connsiteX22" fmla="*/ 304848 w 533400"/>
                <a:gd name="connsiteY22" fmla="*/ 703974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33400" h="704850">
                  <a:moveTo>
                    <a:pt x="311305" y="398507"/>
                  </a:moveTo>
                  <a:lnTo>
                    <a:pt x="207778" y="398507"/>
                  </a:lnTo>
                  <a:lnTo>
                    <a:pt x="259413" y="199901"/>
                  </a:lnTo>
                  <a:lnTo>
                    <a:pt x="311305" y="398507"/>
                  </a:lnTo>
                  <a:close/>
                  <a:moveTo>
                    <a:pt x="304838" y="703974"/>
                  </a:moveTo>
                  <a:lnTo>
                    <a:pt x="527685" y="703974"/>
                  </a:lnTo>
                  <a:lnTo>
                    <a:pt x="527685" y="652815"/>
                  </a:lnTo>
                  <a:cubicBezTo>
                    <a:pt x="510445" y="644080"/>
                    <a:pt x="497939" y="628583"/>
                    <a:pt x="492795" y="609876"/>
                  </a:cubicBezTo>
                  <a:lnTo>
                    <a:pt x="333061" y="7144"/>
                  </a:lnTo>
                  <a:lnTo>
                    <a:pt x="220046" y="7144"/>
                  </a:lnTo>
                  <a:lnTo>
                    <a:pt x="65503" y="592703"/>
                  </a:lnTo>
                  <a:cubicBezTo>
                    <a:pt x="61522" y="606885"/>
                    <a:pt x="46320" y="651539"/>
                    <a:pt x="7144" y="654253"/>
                  </a:cubicBezTo>
                  <a:lnTo>
                    <a:pt x="7144" y="703974"/>
                  </a:lnTo>
                  <a:lnTo>
                    <a:pt x="214027" y="703974"/>
                  </a:lnTo>
                  <a:lnTo>
                    <a:pt x="214027" y="654253"/>
                  </a:lnTo>
                  <a:cubicBezTo>
                    <a:pt x="196091" y="653044"/>
                    <a:pt x="178098" y="643804"/>
                    <a:pt x="166573" y="629793"/>
                  </a:cubicBezTo>
                  <a:cubicBezTo>
                    <a:pt x="156858" y="618096"/>
                    <a:pt x="153105" y="604399"/>
                    <a:pt x="155648" y="591150"/>
                  </a:cubicBezTo>
                  <a:lnTo>
                    <a:pt x="190767" y="464182"/>
                  </a:lnTo>
                  <a:lnTo>
                    <a:pt x="328289" y="464182"/>
                  </a:lnTo>
                  <a:lnTo>
                    <a:pt x="363236" y="590702"/>
                  </a:lnTo>
                  <a:cubicBezTo>
                    <a:pt x="366227" y="604399"/>
                    <a:pt x="362245" y="618096"/>
                    <a:pt x="352530" y="629793"/>
                  </a:cubicBezTo>
                  <a:cubicBezTo>
                    <a:pt x="341004" y="643804"/>
                    <a:pt x="323012" y="653034"/>
                    <a:pt x="304848" y="654253"/>
                  </a:cubicBezTo>
                  <a:lnTo>
                    <a:pt x="304848" y="70397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0">
              <a:extLst>
                <a:ext uri="{FF2B5EF4-FFF2-40B4-BE49-F238E27FC236}">
                  <a16:creationId xmlns:a16="http://schemas.microsoft.com/office/drawing/2014/main" id="{CF5D1B88-233F-4AD8-B4A4-05538FF97FCB}"/>
                </a:ext>
              </a:extLst>
            </p:cNvPr>
            <p:cNvSpPr/>
            <p:nvPr/>
          </p:nvSpPr>
          <p:spPr>
            <a:xfrm>
              <a:off x="7303589" y="4725102"/>
              <a:ext cx="409575" cy="733425"/>
            </a:xfrm>
            <a:custGeom>
              <a:avLst/>
              <a:gdLst>
                <a:gd name="connsiteX0" fmla="*/ 116719 w 409575"/>
                <a:gd name="connsiteY0" fmla="*/ 692220 h 733425"/>
                <a:gd name="connsiteX1" fmla="*/ 120758 w 409575"/>
                <a:gd name="connsiteY1" fmla="*/ 695268 h 733425"/>
                <a:gd name="connsiteX2" fmla="*/ 216741 w 409575"/>
                <a:gd name="connsiteY2" fmla="*/ 727158 h 733425"/>
                <a:gd name="connsiteX3" fmla="*/ 218541 w 409575"/>
                <a:gd name="connsiteY3" fmla="*/ 727158 h 733425"/>
                <a:gd name="connsiteX4" fmla="*/ 403698 w 409575"/>
                <a:gd name="connsiteY4" fmla="*/ 496329 h 733425"/>
                <a:gd name="connsiteX5" fmla="*/ 233734 w 409575"/>
                <a:gd name="connsiteY5" fmla="*/ 288369 h 733425"/>
                <a:gd name="connsiteX6" fmla="*/ 111509 w 409575"/>
                <a:gd name="connsiteY6" fmla="*/ 172364 h 733425"/>
                <a:gd name="connsiteX7" fmla="*/ 179584 w 409575"/>
                <a:gd name="connsiteY7" fmla="*/ 81486 h 733425"/>
                <a:gd name="connsiteX8" fmla="*/ 317030 w 409575"/>
                <a:gd name="connsiteY8" fmla="*/ 225828 h 733425"/>
                <a:gd name="connsiteX9" fmla="*/ 361245 w 409575"/>
                <a:gd name="connsiteY9" fmla="*/ 200435 h 733425"/>
                <a:gd name="connsiteX10" fmla="*/ 328031 w 409575"/>
                <a:gd name="connsiteY10" fmla="*/ 23746 h 733425"/>
                <a:gd name="connsiteX11" fmla="*/ 272434 w 409575"/>
                <a:gd name="connsiteY11" fmla="*/ 23746 h 733425"/>
                <a:gd name="connsiteX12" fmla="*/ 262433 w 409575"/>
                <a:gd name="connsiteY12" fmla="*/ 47587 h 733425"/>
                <a:gd name="connsiteX13" fmla="*/ 258146 w 409575"/>
                <a:gd name="connsiteY13" fmla="*/ 44453 h 733425"/>
                <a:gd name="connsiteX14" fmla="*/ 162410 w 409575"/>
                <a:gd name="connsiteY14" fmla="*/ 7144 h 733425"/>
                <a:gd name="connsiteX15" fmla="*/ 7144 w 409575"/>
                <a:gd name="connsiteY15" fmla="*/ 207778 h 733425"/>
                <a:gd name="connsiteX16" fmla="*/ 177108 w 409575"/>
                <a:gd name="connsiteY16" fmla="*/ 412737 h 733425"/>
                <a:gd name="connsiteX17" fmla="*/ 304105 w 409575"/>
                <a:gd name="connsiteY17" fmla="*/ 536772 h 733425"/>
                <a:gd name="connsiteX18" fmla="*/ 207521 w 409575"/>
                <a:gd name="connsiteY18" fmla="*/ 651767 h 733425"/>
                <a:gd name="connsiteX19" fmla="*/ 206311 w 409575"/>
                <a:gd name="connsiteY19" fmla="*/ 651767 h 733425"/>
                <a:gd name="connsiteX20" fmla="*/ 58579 w 409575"/>
                <a:gd name="connsiteY20" fmla="*/ 463420 h 733425"/>
                <a:gd name="connsiteX21" fmla="*/ 7363 w 409575"/>
                <a:gd name="connsiteY21" fmla="*/ 492624 h 733425"/>
                <a:gd name="connsiteX22" fmla="*/ 50578 w 409575"/>
                <a:gd name="connsiteY22" fmla="*/ 716166 h 733425"/>
                <a:gd name="connsiteX23" fmla="*/ 106480 w 409575"/>
                <a:gd name="connsiteY23" fmla="*/ 716166 h 733425"/>
                <a:gd name="connsiteX24" fmla="*/ 116719 w 409575"/>
                <a:gd name="connsiteY24" fmla="*/ 69222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09575" h="733425">
                  <a:moveTo>
                    <a:pt x="116719" y="692220"/>
                  </a:moveTo>
                  <a:lnTo>
                    <a:pt x="120758" y="695268"/>
                  </a:lnTo>
                  <a:cubicBezTo>
                    <a:pt x="145647" y="715404"/>
                    <a:pt x="180584" y="727158"/>
                    <a:pt x="216741" y="727158"/>
                  </a:cubicBezTo>
                  <a:lnTo>
                    <a:pt x="218541" y="727158"/>
                  </a:lnTo>
                  <a:cubicBezTo>
                    <a:pt x="237439" y="727158"/>
                    <a:pt x="403698" y="720661"/>
                    <a:pt x="403698" y="496329"/>
                  </a:cubicBezTo>
                  <a:cubicBezTo>
                    <a:pt x="403698" y="338795"/>
                    <a:pt x="313506" y="311963"/>
                    <a:pt x="233734" y="288369"/>
                  </a:cubicBezTo>
                  <a:cubicBezTo>
                    <a:pt x="170850" y="269672"/>
                    <a:pt x="111509" y="252070"/>
                    <a:pt x="111509" y="172364"/>
                  </a:cubicBezTo>
                  <a:cubicBezTo>
                    <a:pt x="111509" y="137246"/>
                    <a:pt x="129959" y="81486"/>
                    <a:pt x="179584" y="81486"/>
                  </a:cubicBezTo>
                  <a:cubicBezTo>
                    <a:pt x="241954" y="81486"/>
                    <a:pt x="275396" y="130016"/>
                    <a:pt x="317030" y="225828"/>
                  </a:cubicBezTo>
                  <a:lnTo>
                    <a:pt x="361245" y="200435"/>
                  </a:lnTo>
                  <a:lnTo>
                    <a:pt x="328031" y="23746"/>
                  </a:lnTo>
                  <a:lnTo>
                    <a:pt x="272434" y="23746"/>
                  </a:lnTo>
                  <a:lnTo>
                    <a:pt x="262433" y="47587"/>
                  </a:lnTo>
                  <a:lnTo>
                    <a:pt x="258146" y="44453"/>
                  </a:lnTo>
                  <a:cubicBezTo>
                    <a:pt x="229219" y="21155"/>
                    <a:pt x="193320" y="7144"/>
                    <a:pt x="162410" y="7144"/>
                  </a:cubicBezTo>
                  <a:cubicBezTo>
                    <a:pt x="47882" y="7144"/>
                    <a:pt x="7144" y="110871"/>
                    <a:pt x="7144" y="207778"/>
                  </a:cubicBezTo>
                  <a:cubicBezTo>
                    <a:pt x="7144" y="353501"/>
                    <a:pt x="97498" y="385020"/>
                    <a:pt x="177108" y="412737"/>
                  </a:cubicBezTo>
                  <a:cubicBezTo>
                    <a:pt x="242459" y="435645"/>
                    <a:pt x="304105" y="456971"/>
                    <a:pt x="304105" y="536772"/>
                  </a:cubicBezTo>
                  <a:cubicBezTo>
                    <a:pt x="304105" y="648824"/>
                    <a:pt x="217275" y="651767"/>
                    <a:pt x="207521" y="651767"/>
                  </a:cubicBezTo>
                  <a:lnTo>
                    <a:pt x="206311" y="651767"/>
                  </a:lnTo>
                  <a:cubicBezTo>
                    <a:pt x="145695" y="651767"/>
                    <a:pt x="112243" y="609429"/>
                    <a:pt x="58579" y="463420"/>
                  </a:cubicBezTo>
                  <a:lnTo>
                    <a:pt x="7363" y="492624"/>
                  </a:lnTo>
                  <a:lnTo>
                    <a:pt x="50578" y="716166"/>
                  </a:lnTo>
                  <a:lnTo>
                    <a:pt x="106480" y="716166"/>
                  </a:lnTo>
                  <a:lnTo>
                    <a:pt x="116719" y="69222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1">
              <a:extLst>
                <a:ext uri="{FF2B5EF4-FFF2-40B4-BE49-F238E27FC236}">
                  <a16:creationId xmlns:a16="http://schemas.microsoft.com/office/drawing/2014/main" id="{B2A2F89B-F989-40B5-89C0-114BAAFB8F29}"/>
                </a:ext>
              </a:extLst>
            </p:cNvPr>
            <p:cNvSpPr/>
            <p:nvPr/>
          </p:nvSpPr>
          <p:spPr>
            <a:xfrm>
              <a:off x="8804510" y="4736494"/>
              <a:ext cx="247650" cy="704850"/>
            </a:xfrm>
            <a:custGeom>
              <a:avLst/>
              <a:gdLst>
                <a:gd name="connsiteX0" fmla="*/ 7144 w 247650"/>
                <a:gd name="connsiteY0" fmla="*/ 704488 h 704850"/>
                <a:gd name="connsiteX1" fmla="*/ 240697 w 247650"/>
                <a:gd name="connsiteY1" fmla="*/ 704488 h 704850"/>
                <a:gd name="connsiteX2" fmla="*/ 240697 w 247650"/>
                <a:gd name="connsiteY2" fmla="*/ 654634 h 704850"/>
                <a:gd name="connsiteX3" fmla="*/ 182033 w 247650"/>
                <a:gd name="connsiteY3" fmla="*/ 592465 h 704850"/>
                <a:gd name="connsiteX4" fmla="*/ 182033 w 247650"/>
                <a:gd name="connsiteY4" fmla="*/ 119253 h 704850"/>
                <a:gd name="connsiteX5" fmla="*/ 240697 w 247650"/>
                <a:gd name="connsiteY5" fmla="*/ 56769 h 704850"/>
                <a:gd name="connsiteX6" fmla="*/ 240697 w 247650"/>
                <a:gd name="connsiteY6" fmla="*/ 7144 h 704850"/>
                <a:gd name="connsiteX7" fmla="*/ 7144 w 247650"/>
                <a:gd name="connsiteY7" fmla="*/ 7144 h 704850"/>
                <a:gd name="connsiteX8" fmla="*/ 7144 w 247650"/>
                <a:gd name="connsiteY8" fmla="*/ 56769 h 704850"/>
                <a:gd name="connsiteX9" fmla="*/ 65618 w 247650"/>
                <a:gd name="connsiteY9" fmla="*/ 119253 h 704850"/>
                <a:gd name="connsiteX10" fmla="*/ 65618 w 247650"/>
                <a:gd name="connsiteY10" fmla="*/ 592474 h 704850"/>
                <a:gd name="connsiteX11" fmla="*/ 7144 w 247650"/>
                <a:gd name="connsiteY11" fmla="*/ 654644 h 704850"/>
                <a:gd name="connsiteX12" fmla="*/ 7144 w 247650"/>
                <a:gd name="connsiteY12" fmla="*/ 704488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7650" h="704850">
                  <a:moveTo>
                    <a:pt x="7144" y="704488"/>
                  </a:moveTo>
                  <a:lnTo>
                    <a:pt x="240697" y="704488"/>
                  </a:lnTo>
                  <a:lnTo>
                    <a:pt x="240697" y="654634"/>
                  </a:lnTo>
                  <a:cubicBezTo>
                    <a:pt x="208131" y="652682"/>
                    <a:pt x="182033" y="625478"/>
                    <a:pt x="182033" y="592465"/>
                  </a:cubicBezTo>
                  <a:lnTo>
                    <a:pt x="182033" y="119253"/>
                  </a:lnTo>
                  <a:cubicBezTo>
                    <a:pt x="182033" y="86096"/>
                    <a:pt x="208131" y="58807"/>
                    <a:pt x="240697" y="56769"/>
                  </a:cubicBezTo>
                  <a:lnTo>
                    <a:pt x="240697" y="7144"/>
                  </a:lnTo>
                  <a:lnTo>
                    <a:pt x="7144" y="7144"/>
                  </a:lnTo>
                  <a:lnTo>
                    <a:pt x="7144" y="56769"/>
                  </a:lnTo>
                  <a:cubicBezTo>
                    <a:pt x="39777" y="58798"/>
                    <a:pt x="65618" y="86087"/>
                    <a:pt x="65618" y="119253"/>
                  </a:cubicBezTo>
                  <a:lnTo>
                    <a:pt x="65618" y="592474"/>
                  </a:lnTo>
                  <a:cubicBezTo>
                    <a:pt x="65618" y="625497"/>
                    <a:pt x="39777" y="652701"/>
                    <a:pt x="7144" y="654644"/>
                  </a:cubicBezTo>
                  <a:lnTo>
                    <a:pt x="7144" y="70448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2">
              <a:extLst>
                <a:ext uri="{FF2B5EF4-FFF2-40B4-BE49-F238E27FC236}">
                  <a16:creationId xmlns:a16="http://schemas.microsoft.com/office/drawing/2014/main" id="{CFA5DBE1-2283-477E-9F48-8183432BD8DC}"/>
                </a:ext>
              </a:extLst>
            </p:cNvPr>
            <p:cNvSpPr/>
            <p:nvPr/>
          </p:nvSpPr>
          <p:spPr>
            <a:xfrm>
              <a:off x="9093813" y="4604229"/>
              <a:ext cx="628650" cy="838200"/>
            </a:xfrm>
            <a:custGeom>
              <a:avLst/>
              <a:gdLst>
                <a:gd name="connsiteX0" fmla="*/ 372999 w 628650"/>
                <a:gd name="connsiteY0" fmla="*/ 476841 h 838200"/>
                <a:gd name="connsiteX1" fmla="*/ 240687 w 628650"/>
                <a:gd name="connsiteY1" fmla="*/ 476841 h 838200"/>
                <a:gd name="connsiteX2" fmla="*/ 306924 w 628650"/>
                <a:gd name="connsiteY2" fmla="*/ 222247 h 838200"/>
                <a:gd name="connsiteX3" fmla="*/ 372999 w 628650"/>
                <a:gd name="connsiteY3" fmla="*/ 476841 h 838200"/>
                <a:gd name="connsiteX4" fmla="*/ 364550 w 628650"/>
                <a:gd name="connsiteY4" fmla="*/ 836752 h 838200"/>
                <a:gd name="connsiteX5" fmla="*/ 625383 w 628650"/>
                <a:gd name="connsiteY5" fmla="*/ 836752 h 838200"/>
                <a:gd name="connsiteX6" fmla="*/ 625383 w 628650"/>
                <a:gd name="connsiteY6" fmla="*/ 780660 h 838200"/>
                <a:gd name="connsiteX7" fmla="*/ 583806 w 628650"/>
                <a:gd name="connsiteY7" fmla="*/ 727777 h 838200"/>
                <a:gd name="connsiteX8" fmla="*/ 392601 w 628650"/>
                <a:gd name="connsiteY8" fmla="*/ 7144 h 838200"/>
                <a:gd name="connsiteX9" fmla="*/ 261880 w 628650"/>
                <a:gd name="connsiteY9" fmla="*/ 7144 h 838200"/>
                <a:gd name="connsiteX10" fmla="*/ 77085 w 628650"/>
                <a:gd name="connsiteY10" fmla="*/ 707527 h 838200"/>
                <a:gd name="connsiteX11" fmla="*/ 7144 w 628650"/>
                <a:gd name="connsiteY11" fmla="*/ 783136 h 838200"/>
                <a:gd name="connsiteX12" fmla="*/ 7144 w 628650"/>
                <a:gd name="connsiteY12" fmla="*/ 836743 h 838200"/>
                <a:gd name="connsiteX13" fmla="*/ 249193 w 628650"/>
                <a:gd name="connsiteY13" fmla="*/ 836743 h 838200"/>
                <a:gd name="connsiteX14" fmla="*/ 249193 w 628650"/>
                <a:gd name="connsiteY14" fmla="*/ 783374 h 838200"/>
                <a:gd name="connsiteX15" fmla="*/ 192786 w 628650"/>
                <a:gd name="connsiteY15" fmla="*/ 752951 h 838200"/>
                <a:gd name="connsiteX16" fmla="*/ 179032 w 628650"/>
                <a:gd name="connsiteY16" fmla="*/ 703831 h 838200"/>
                <a:gd name="connsiteX17" fmla="*/ 221970 w 628650"/>
                <a:gd name="connsiteY17" fmla="*/ 549097 h 838200"/>
                <a:gd name="connsiteX18" fmla="*/ 391620 w 628650"/>
                <a:gd name="connsiteY18" fmla="*/ 549097 h 838200"/>
                <a:gd name="connsiteX19" fmla="*/ 434559 w 628650"/>
                <a:gd name="connsiteY19" fmla="*/ 703269 h 838200"/>
                <a:gd name="connsiteX20" fmla="*/ 420862 w 628650"/>
                <a:gd name="connsiteY20" fmla="*/ 752961 h 838200"/>
                <a:gd name="connsiteX21" fmla="*/ 364569 w 628650"/>
                <a:gd name="connsiteY21" fmla="*/ 783384 h 838200"/>
                <a:gd name="connsiteX22" fmla="*/ 364569 w 628650"/>
                <a:gd name="connsiteY22" fmla="*/ 836752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650" h="838200">
                  <a:moveTo>
                    <a:pt x="372999" y="476841"/>
                  </a:moveTo>
                  <a:lnTo>
                    <a:pt x="240687" y="476841"/>
                  </a:lnTo>
                  <a:lnTo>
                    <a:pt x="306924" y="222247"/>
                  </a:lnTo>
                  <a:lnTo>
                    <a:pt x="372999" y="476841"/>
                  </a:lnTo>
                  <a:close/>
                  <a:moveTo>
                    <a:pt x="364550" y="836752"/>
                  </a:moveTo>
                  <a:lnTo>
                    <a:pt x="625383" y="836752"/>
                  </a:lnTo>
                  <a:lnTo>
                    <a:pt x="625383" y="780660"/>
                  </a:lnTo>
                  <a:cubicBezTo>
                    <a:pt x="604847" y="769439"/>
                    <a:pt x="589988" y="750465"/>
                    <a:pt x="583806" y="727777"/>
                  </a:cubicBezTo>
                  <a:lnTo>
                    <a:pt x="392601" y="7144"/>
                  </a:lnTo>
                  <a:lnTo>
                    <a:pt x="261880" y="7144"/>
                  </a:lnTo>
                  <a:lnTo>
                    <a:pt x="77085" y="707527"/>
                  </a:lnTo>
                  <a:cubicBezTo>
                    <a:pt x="64894" y="751675"/>
                    <a:pt x="39100" y="779164"/>
                    <a:pt x="7144" y="783136"/>
                  </a:cubicBezTo>
                  <a:lnTo>
                    <a:pt x="7144" y="836743"/>
                  </a:lnTo>
                  <a:lnTo>
                    <a:pt x="249193" y="836743"/>
                  </a:lnTo>
                  <a:lnTo>
                    <a:pt x="249193" y="783374"/>
                  </a:lnTo>
                  <a:cubicBezTo>
                    <a:pt x="227562" y="781117"/>
                    <a:pt x="206521" y="769896"/>
                    <a:pt x="192786" y="752951"/>
                  </a:cubicBezTo>
                  <a:cubicBezTo>
                    <a:pt x="180641" y="738207"/>
                    <a:pt x="175660" y="720776"/>
                    <a:pt x="179032" y="703831"/>
                  </a:cubicBezTo>
                  <a:lnTo>
                    <a:pt x="221970" y="549097"/>
                  </a:lnTo>
                  <a:lnTo>
                    <a:pt x="391620" y="549097"/>
                  </a:lnTo>
                  <a:lnTo>
                    <a:pt x="434559" y="703269"/>
                  </a:lnTo>
                  <a:cubicBezTo>
                    <a:pt x="438083" y="720785"/>
                    <a:pt x="433225" y="738207"/>
                    <a:pt x="420862" y="752961"/>
                  </a:cubicBezTo>
                  <a:cubicBezTo>
                    <a:pt x="407079" y="769906"/>
                    <a:pt x="386143" y="781126"/>
                    <a:pt x="364569" y="783384"/>
                  </a:cubicBezTo>
                  <a:lnTo>
                    <a:pt x="364569" y="83675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3">
              <a:extLst>
                <a:ext uri="{FF2B5EF4-FFF2-40B4-BE49-F238E27FC236}">
                  <a16:creationId xmlns:a16="http://schemas.microsoft.com/office/drawing/2014/main" id="{D2A46188-63BA-489E-87B4-B91F8CE856BF}"/>
                </a:ext>
              </a:extLst>
            </p:cNvPr>
            <p:cNvSpPr/>
            <p:nvPr/>
          </p:nvSpPr>
          <p:spPr>
            <a:xfrm>
              <a:off x="2469356" y="4581922"/>
              <a:ext cx="552450" cy="876300"/>
            </a:xfrm>
            <a:custGeom>
              <a:avLst/>
              <a:gdLst>
                <a:gd name="connsiteX0" fmla="*/ 296951 w 552450"/>
                <a:gd name="connsiteY0" fmla="*/ 7144 h 876300"/>
                <a:gd name="connsiteX1" fmla="*/ 7144 w 552450"/>
                <a:gd name="connsiteY1" fmla="*/ 439541 h 876300"/>
                <a:gd name="connsiteX2" fmla="*/ 296951 w 552450"/>
                <a:gd name="connsiteY2" fmla="*/ 872080 h 876300"/>
                <a:gd name="connsiteX3" fmla="*/ 553241 w 552450"/>
                <a:gd name="connsiteY3" fmla="*/ 641280 h 876300"/>
                <a:gd name="connsiteX4" fmla="*/ 486127 w 552450"/>
                <a:gd name="connsiteY4" fmla="*/ 588178 h 876300"/>
                <a:gd name="connsiteX5" fmla="*/ 317773 w 552450"/>
                <a:gd name="connsiteY5" fmla="*/ 781221 h 876300"/>
                <a:gd name="connsiteX6" fmla="*/ 150190 w 552450"/>
                <a:gd name="connsiteY6" fmla="*/ 439550 h 876300"/>
                <a:gd name="connsiteX7" fmla="*/ 317773 w 552450"/>
                <a:gd name="connsiteY7" fmla="*/ 97965 h 876300"/>
                <a:gd name="connsiteX8" fmla="*/ 475593 w 552450"/>
                <a:gd name="connsiteY8" fmla="*/ 322897 h 876300"/>
                <a:gd name="connsiteX9" fmla="*/ 535019 w 552450"/>
                <a:gd name="connsiteY9" fmla="*/ 286626 h 876300"/>
                <a:gd name="connsiteX10" fmla="*/ 485785 w 552450"/>
                <a:gd name="connsiteY10" fmla="*/ 26984 h 876300"/>
                <a:gd name="connsiteX11" fmla="*/ 428920 w 552450"/>
                <a:gd name="connsiteY11" fmla="*/ 26984 h 876300"/>
                <a:gd name="connsiteX12" fmla="*/ 416747 w 552450"/>
                <a:gd name="connsiteY12" fmla="*/ 55035 h 876300"/>
                <a:gd name="connsiteX13" fmla="*/ 412652 w 552450"/>
                <a:gd name="connsiteY13" fmla="*/ 51930 h 876300"/>
                <a:gd name="connsiteX14" fmla="*/ 296951 w 552450"/>
                <a:gd name="connsiteY14" fmla="*/ 7144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52450" h="876300">
                  <a:moveTo>
                    <a:pt x="296951" y="7144"/>
                  </a:moveTo>
                  <a:cubicBezTo>
                    <a:pt x="137112" y="7144"/>
                    <a:pt x="7144" y="201111"/>
                    <a:pt x="7144" y="439541"/>
                  </a:cubicBezTo>
                  <a:cubicBezTo>
                    <a:pt x="7144" y="677999"/>
                    <a:pt x="137112" y="872080"/>
                    <a:pt x="296951" y="872080"/>
                  </a:cubicBezTo>
                  <a:cubicBezTo>
                    <a:pt x="450418" y="872080"/>
                    <a:pt x="511064" y="761552"/>
                    <a:pt x="553241" y="641280"/>
                  </a:cubicBezTo>
                  <a:lnTo>
                    <a:pt x="486127" y="588178"/>
                  </a:lnTo>
                  <a:cubicBezTo>
                    <a:pt x="455762" y="700402"/>
                    <a:pt x="385658" y="781221"/>
                    <a:pt x="317773" y="781221"/>
                  </a:cubicBezTo>
                  <a:cubicBezTo>
                    <a:pt x="225352" y="781221"/>
                    <a:pt x="150190" y="628040"/>
                    <a:pt x="150190" y="439550"/>
                  </a:cubicBezTo>
                  <a:cubicBezTo>
                    <a:pt x="150190" y="251146"/>
                    <a:pt x="225352" y="97965"/>
                    <a:pt x="317773" y="97965"/>
                  </a:cubicBezTo>
                  <a:cubicBezTo>
                    <a:pt x="388868" y="97965"/>
                    <a:pt x="451942" y="188043"/>
                    <a:pt x="475593" y="322897"/>
                  </a:cubicBezTo>
                  <a:lnTo>
                    <a:pt x="535019" y="286626"/>
                  </a:lnTo>
                  <a:lnTo>
                    <a:pt x="485785" y="26984"/>
                  </a:lnTo>
                  <a:lnTo>
                    <a:pt x="428920" y="26984"/>
                  </a:lnTo>
                  <a:lnTo>
                    <a:pt x="416747" y="55035"/>
                  </a:lnTo>
                  <a:lnTo>
                    <a:pt x="412652" y="51930"/>
                  </a:lnTo>
                  <a:cubicBezTo>
                    <a:pt x="377885" y="23860"/>
                    <a:pt x="334604" y="7144"/>
                    <a:pt x="296951" y="7144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4">
              <a:extLst>
                <a:ext uri="{FF2B5EF4-FFF2-40B4-BE49-F238E27FC236}">
                  <a16:creationId xmlns:a16="http://schemas.microsoft.com/office/drawing/2014/main" id="{CA7179D3-E8D4-4F19-963A-72C725DFDC89}"/>
                </a:ext>
              </a:extLst>
            </p:cNvPr>
            <p:cNvSpPr/>
            <p:nvPr/>
          </p:nvSpPr>
          <p:spPr>
            <a:xfrm>
              <a:off x="4343610" y="4736494"/>
              <a:ext cx="514350" cy="704850"/>
            </a:xfrm>
            <a:custGeom>
              <a:avLst/>
              <a:gdLst>
                <a:gd name="connsiteX0" fmla="*/ 347243 w 514350"/>
                <a:gd name="connsiteY0" fmla="*/ 704488 h 704850"/>
                <a:gd name="connsiteX1" fmla="*/ 449580 w 514350"/>
                <a:gd name="connsiteY1" fmla="*/ 704488 h 704850"/>
                <a:gd name="connsiteX2" fmla="*/ 449580 w 514350"/>
                <a:gd name="connsiteY2" fmla="*/ 170802 h 704850"/>
                <a:gd name="connsiteX3" fmla="*/ 507425 w 514350"/>
                <a:gd name="connsiteY3" fmla="*/ 63017 h 704850"/>
                <a:gd name="connsiteX4" fmla="*/ 507425 w 514350"/>
                <a:gd name="connsiteY4" fmla="*/ 7144 h 704850"/>
                <a:gd name="connsiteX5" fmla="*/ 316925 w 514350"/>
                <a:gd name="connsiteY5" fmla="*/ 7144 h 704850"/>
                <a:gd name="connsiteX6" fmla="*/ 316925 w 514350"/>
                <a:gd name="connsiteY6" fmla="*/ 62513 h 704850"/>
                <a:gd name="connsiteX7" fmla="*/ 318364 w 514350"/>
                <a:gd name="connsiteY7" fmla="*/ 62513 h 704850"/>
                <a:gd name="connsiteX8" fmla="*/ 372066 w 514350"/>
                <a:gd name="connsiteY8" fmla="*/ 91097 h 704850"/>
                <a:gd name="connsiteX9" fmla="*/ 379628 w 514350"/>
                <a:gd name="connsiteY9" fmla="*/ 160839 h 704850"/>
                <a:gd name="connsiteX10" fmla="*/ 379628 w 514350"/>
                <a:gd name="connsiteY10" fmla="*/ 169821 h 704850"/>
                <a:gd name="connsiteX11" fmla="*/ 379628 w 514350"/>
                <a:gd name="connsiteY11" fmla="*/ 423081 h 704850"/>
                <a:gd name="connsiteX12" fmla="*/ 216960 w 514350"/>
                <a:gd name="connsiteY12" fmla="*/ 7144 h 704850"/>
                <a:gd name="connsiteX13" fmla="*/ 7144 w 514350"/>
                <a:gd name="connsiteY13" fmla="*/ 7144 h 704850"/>
                <a:gd name="connsiteX14" fmla="*/ 7144 w 514350"/>
                <a:gd name="connsiteY14" fmla="*/ 62513 h 704850"/>
                <a:gd name="connsiteX15" fmla="*/ 68980 w 514350"/>
                <a:gd name="connsiteY15" fmla="*/ 169231 h 704850"/>
                <a:gd name="connsiteX16" fmla="*/ 68980 w 514350"/>
                <a:gd name="connsiteY16" fmla="*/ 545849 h 704850"/>
                <a:gd name="connsiteX17" fmla="*/ 11582 w 514350"/>
                <a:gd name="connsiteY17" fmla="*/ 653606 h 704850"/>
                <a:gd name="connsiteX18" fmla="*/ 11582 w 514350"/>
                <a:gd name="connsiteY18" fmla="*/ 704507 h 704850"/>
                <a:gd name="connsiteX19" fmla="*/ 202101 w 514350"/>
                <a:gd name="connsiteY19" fmla="*/ 704507 h 704850"/>
                <a:gd name="connsiteX20" fmla="*/ 202101 w 514350"/>
                <a:gd name="connsiteY20" fmla="*/ 654148 h 704850"/>
                <a:gd name="connsiteX21" fmla="*/ 200577 w 514350"/>
                <a:gd name="connsiteY21" fmla="*/ 654148 h 704850"/>
                <a:gd name="connsiteX22" fmla="*/ 146961 w 514350"/>
                <a:gd name="connsiteY22" fmla="*/ 625735 h 704850"/>
                <a:gd name="connsiteX23" fmla="*/ 138970 w 514350"/>
                <a:gd name="connsiteY23" fmla="*/ 554584 h 704850"/>
                <a:gd name="connsiteX24" fmla="*/ 138970 w 514350"/>
                <a:gd name="connsiteY24" fmla="*/ 546897 h 704850"/>
                <a:gd name="connsiteX25" fmla="*/ 138970 w 514350"/>
                <a:gd name="connsiteY25" fmla="*/ 178032 h 704850"/>
                <a:gd name="connsiteX26" fmla="*/ 347243 w 514350"/>
                <a:gd name="connsiteY26" fmla="*/ 704488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704850">
                  <a:moveTo>
                    <a:pt x="347243" y="704488"/>
                  </a:moveTo>
                  <a:lnTo>
                    <a:pt x="449580" y="704488"/>
                  </a:lnTo>
                  <a:lnTo>
                    <a:pt x="449580" y="170802"/>
                  </a:lnTo>
                  <a:cubicBezTo>
                    <a:pt x="449580" y="94650"/>
                    <a:pt x="452009" y="71295"/>
                    <a:pt x="507425" y="63017"/>
                  </a:cubicBezTo>
                  <a:lnTo>
                    <a:pt x="507425" y="7144"/>
                  </a:lnTo>
                  <a:lnTo>
                    <a:pt x="316925" y="7144"/>
                  </a:lnTo>
                  <a:lnTo>
                    <a:pt x="316925" y="62513"/>
                  </a:lnTo>
                  <a:lnTo>
                    <a:pt x="318364" y="62513"/>
                  </a:lnTo>
                  <a:cubicBezTo>
                    <a:pt x="334604" y="64884"/>
                    <a:pt x="362455" y="71999"/>
                    <a:pt x="372066" y="91097"/>
                  </a:cubicBezTo>
                  <a:cubicBezTo>
                    <a:pt x="380257" y="107452"/>
                    <a:pt x="379857" y="138408"/>
                    <a:pt x="379628" y="160839"/>
                  </a:cubicBezTo>
                  <a:lnTo>
                    <a:pt x="379628" y="169821"/>
                  </a:lnTo>
                  <a:lnTo>
                    <a:pt x="379628" y="423081"/>
                  </a:lnTo>
                  <a:lnTo>
                    <a:pt x="216960" y="7144"/>
                  </a:lnTo>
                  <a:lnTo>
                    <a:pt x="7144" y="7144"/>
                  </a:lnTo>
                  <a:lnTo>
                    <a:pt x="7144" y="62513"/>
                  </a:lnTo>
                  <a:cubicBezTo>
                    <a:pt x="64113" y="71018"/>
                    <a:pt x="68980" y="96183"/>
                    <a:pt x="68980" y="169231"/>
                  </a:cubicBezTo>
                  <a:lnTo>
                    <a:pt x="68980" y="545849"/>
                  </a:lnTo>
                  <a:cubicBezTo>
                    <a:pt x="68980" y="617230"/>
                    <a:pt x="68980" y="644938"/>
                    <a:pt x="11582" y="653606"/>
                  </a:cubicBezTo>
                  <a:lnTo>
                    <a:pt x="11582" y="704507"/>
                  </a:lnTo>
                  <a:lnTo>
                    <a:pt x="202101" y="704507"/>
                  </a:lnTo>
                  <a:lnTo>
                    <a:pt x="202101" y="654148"/>
                  </a:lnTo>
                  <a:lnTo>
                    <a:pt x="200577" y="654148"/>
                  </a:lnTo>
                  <a:cubicBezTo>
                    <a:pt x="184337" y="651662"/>
                    <a:pt x="156562" y="644652"/>
                    <a:pt x="146961" y="625735"/>
                  </a:cubicBezTo>
                  <a:cubicBezTo>
                    <a:pt x="138627" y="608790"/>
                    <a:pt x="138855" y="577320"/>
                    <a:pt x="138970" y="554584"/>
                  </a:cubicBezTo>
                  <a:lnTo>
                    <a:pt x="138970" y="546897"/>
                  </a:lnTo>
                  <a:lnTo>
                    <a:pt x="138970" y="178032"/>
                  </a:lnTo>
                  <a:lnTo>
                    <a:pt x="347243" y="70448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25">
              <a:extLst>
                <a:ext uri="{FF2B5EF4-FFF2-40B4-BE49-F238E27FC236}">
                  <a16:creationId xmlns:a16="http://schemas.microsoft.com/office/drawing/2014/main" id="{32C22E15-7251-4B4F-8C22-5CE3C4DF6B0B}"/>
                </a:ext>
              </a:extLst>
            </p:cNvPr>
            <p:cNvSpPr/>
            <p:nvPr/>
          </p:nvSpPr>
          <p:spPr>
            <a:xfrm>
              <a:off x="2469413" y="5683888"/>
              <a:ext cx="7248525" cy="47625"/>
            </a:xfrm>
            <a:custGeom>
              <a:avLst/>
              <a:gdLst>
                <a:gd name="connsiteX0" fmla="*/ 7144 w 7248525"/>
                <a:gd name="connsiteY0" fmla="*/ 7144 h 47625"/>
                <a:gd name="connsiteX1" fmla="*/ 7249726 w 7248525"/>
                <a:gd name="connsiteY1" fmla="*/ 7144 h 47625"/>
                <a:gd name="connsiteX2" fmla="*/ 7249726 w 7248525"/>
                <a:gd name="connsiteY2" fmla="*/ 49054 h 47625"/>
                <a:gd name="connsiteX3" fmla="*/ 7144 w 7248525"/>
                <a:gd name="connsiteY3" fmla="*/ 4905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48525" h="47625">
                  <a:moveTo>
                    <a:pt x="7144" y="7144"/>
                  </a:moveTo>
                  <a:lnTo>
                    <a:pt x="7249726" y="7144"/>
                  </a:lnTo>
                  <a:lnTo>
                    <a:pt x="7249726" y="49054"/>
                  </a:lnTo>
                  <a:lnTo>
                    <a:pt x="7144" y="49054"/>
                  </a:lnTo>
                  <a:close/>
                </a:path>
              </a:pathLst>
            </a:custGeom>
            <a:solidFill>
              <a:srgbClr val="D6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12" descr="I:\kunden\Casinos Austria\Input für Baseform\Logos\w2d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500" y="5882015"/>
            <a:ext cx="988563" cy="47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138" y="5892962"/>
            <a:ext cx="900000" cy="449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35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3" y="5896367"/>
            <a:ext cx="882000" cy="442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Gruppieren 31"/>
          <p:cNvGrpSpPr>
            <a:grpSpLocks noChangeAspect="1"/>
          </p:cNvGrpSpPr>
          <p:nvPr userDrawn="1"/>
        </p:nvGrpSpPr>
        <p:grpSpPr>
          <a:xfrm>
            <a:off x="5150425" y="5985492"/>
            <a:ext cx="2376000" cy="264329"/>
            <a:chOff x="2348752" y="5870322"/>
            <a:chExt cx="4446497" cy="494671"/>
          </a:xfrm>
        </p:grpSpPr>
        <p:sp>
          <p:nvSpPr>
            <p:cNvPr id="33" name="Freeform 69"/>
            <p:cNvSpPr>
              <a:spLocks/>
            </p:cNvSpPr>
            <p:nvPr userDrawn="1"/>
          </p:nvSpPr>
          <p:spPr bwMode="auto">
            <a:xfrm>
              <a:off x="4461805" y="5870322"/>
              <a:ext cx="225083" cy="151999"/>
            </a:xfrm>
            <a:custGeom>
              <a:avLst/>
              <a:gdLst>
                <a:gd name="T0" fmla="*/ 1249 w 1379"/>
                <a:gd name="T1" fmla="*/ 202 h 930"/>
                <a:gd name="T2" fmla="*/ 945 w 1379"/>
                <a:gd name="T3" fmla="*/ 120 h 930"/>
                <a:gd name="T4" fmla="*/ 514 w 1379"/>
                <a:gd name="T5" fmla="*/ 436 h 930"/>
                <a:gd name="T6" fmla="*/ 945 w 1379"/>
                <a:gd name="T7" fmla="*/ 752 h 930"/>
                <a:gd name="T8" fmla="*/ 1350 w 1379"/>
                <a:gd name="T9" fmla="*/ 516 h 930"/>
                <a:gd name="T10" fmla="*/ 1347 w 1379"/>
                <a:gd name="T11" fmla="*/ 522 h 930"/>
                <a:gd name="T12" fmla="*/ 1207 w 1379"/>
                <a:gd name="T13" fmla="*/ 597 h 930"/>
                <a:gd name="T14" fmla="*/ 1038 w 1379"/>
                <a:gd name="T15" fmla="*/ 428 h 930"/>
                <a:gd name="T16" fmla="*/ 1207 w 1379"/>
                <a:gd name="T17" fmla="*/ 259 h 930"/>
                <a:gd name="T18" fmla="*/ 1376 w 1379"/>
                <a:gd name="T19" fmla="*/ 428 h 930"/>
                <a:gd name="T20" fmla="*/ 1379 w 1379"/>
                <a:gd name="T21" fmla="*/ 465 h 930"/>
                <a:gd name="T22" fmla="*/ 689 w 1379"/>
                <a:gd name="T23" fmla="*/ 930 h 930"/>
                <a:gd name="T24" fmla="*/ 0 w 1379"/>
                <a:gd name="T25" fmla="*/ 465 h 930"/>
                <a:gd name="T26" fmla="*/ 689 w 1379"/>
                <a:gd name="T27" fmla="*/ 0 h 930"/>
                <a:gd name="T28" fmla="*/ 1249 w 1379"/>
                <a:gd name="T29" fmla="*/ 202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9" h="930">
                  <a:moveTo>
                    <a:pt x="1249" y="202"/>
                  </a:moveTo>
                  <a:cubicBezTo>
                    <a:pt x="1171" y="146"/>
                    <a:pt x="1064" y="120"/>
                    <a:pt x="945" y="120"/>
                  </a:cubicBezTo>
                  <a:cubicBezTo>
                    <a:pt x="707" y="120"/>
                    <a:pt x="514" y="262"/>
                    <a:pt x="514" y="436"/>
                  </a:cubicBezTo>
                  <a:cubicBezTo>
                    <a:pt x="514" y="611"/>
                    <a:pt x="707" y="752"/>
                    <a:pt x="945" y="752"/>
                  </a:cubicBezTo>
                  <a:cubicBezTo>
                    <a:pt x="1145" y="752"/>
                    <a:pt x="1306" y="603"/>
                    <a:pt x="1350" y="516"/>
                  </a:cubicBezTo>
                  <a:cubicBezTo>
                    <a:pt x="1347" y="522"/>
                    <a:pt x="1347" y="522"/>
                    <a:pt x="1347" y="522"/>
                  </a:cubicBezTo>
                  <a:cubicBezTo>
                    <a:pt x="1316" y="567"/>
                    <a:pt x="1265" y="597"/>
                    <a:pt x="1207" y="597"/>
                  </a:cubicBezTo>
                  <a:cubicBezTo>
                    <a:pt x="1114" y="597"/>
                    <a:pt x="1038" y="521"/>
                    <a:pt x="1038" y="428"/>
                  </a:cubicBezTo>
                  <a:cubicBezTo>
                    <a:pt x="1038" y="335"/>
                    <a:pt x="1114" y="259"/>
                    <a:pt x="1207" y="259"/>
                  </a:cubicBezTo>
                  <a:cubicBezTo>
                    <a:pt x="1300" y="259"/>
                    <a:pt x="1376" y="335"/>
                    <a:pt x="1376" y="428"/>
                  </a:cubicBezTo>
                  <a:cubicBezTo>
                    <a:pt x="1379" y="465"/>
                    <a:pt x="1379" y="465"/>
                    <a:pt x="1379" y="465"/>
                  </a:cubicBezTo>
                  <a:cubicBezTo>
                    <a:pt x="1379" y="722"/>
                    <a:pt x="1070" y="930"/>
                    <a:pt x="689" y="930"/>
                  </a:cubicBezTo>
                  <a:cubicBezTo>
                    <a:pt x="309" y="930"/>
                    <a:pt x="0" y="722"/>
                    <a:pt x="0" y="465"/>
                  </a:cubicBezTo>
                  <a:cubicBezTo>
                    <a:pt x="0" y="208"/>
                    <a:pt x="309" y="0"/>
                    <a:pt x="689" y="0"/>
                  </a:cubicBezTo>
                  <a:cubicBezTo>
                    <a:pt x="921" y="0"/>
                    <a:pt x="1124" y="84"/>
                    <a:pt x="1249" y="202"/>
                  </a:cubicBezTo>
                  <a:close/>
                </a:path>
              </a:pathLst>
            </a:custGeom>
            <a:solidFill>
              <a:srgbClr val="D70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4" name="Freeform 70"/>
            <p:cNvSpPr>
              <a:spLocks noEditPoints="1"/>
            </p:cNvSpPr>
            <p:nvPr userDrawn="1"/>
          </p:nvSpPr>
          <p:spPr bwMode="auto">
            <a:xfrm>
              <a:off x="2547673" y="6099671"/>
              <a:ext cx="168777" cy="225510"/>
            </a:xfrm>
            <a:custGeom>
              <a:avLst/>
              <a:gdLst>
                <a:gd name="T0" fmla="*/ 373 w 1034"/>
                <a:gd name="T1" fmla="*/ 911 h 1380"/>
                <a:gd name="T2" fmla="*/ 306 w 1034"/>
                <a:gd name="T3" fmla="*/ 1153 h 1380"/>
                <a:gd name="T4" fmla="*/ 421 w 1034"/>
                <a:gd name="T5" fmla="*/ 1267 h 1380"/>
                <a:gd name="T6" fmla="*/ 421 w 1034"/>
                <a:gd name="T7" fmla="*/ 1380 h 1380"/>
                <a:gd name="T8" fmla="*/ 0 w 1034"/>
                <a:gd name="T9" fmla="*/ 1380 h 1380"/>
                <a:gd name="T10" fmla="*/ 0 w 1034"/>
                <a:gd name="T11" fmla="*/ 1267 h 1380"/>
                <a:gd name="T12" fmla="*/ 114 w 1034"/>
                <a:gd name="T13" fmla="*/ 1153 h 1380"/>
                <a:gd name="T14" fmla="*/ 418 w 1034"/>
                <a:gd name="T15" fmla="*/ 0 h 1380"/>
                <a:gd name="T16" fmla="*/ 652 w 1034"/>
                <a:gd name="T17" fmla="*/ 0 h 1380"/>
                <a:gd name="T18" fmla="*/ 966 w 1034"/>
                <a:gd name="T19" fmla="*/ 1186 h 1380"/>
                <a:gd name="T20" fmla="*/ 1034 w 1034"/>
                <a:gd name="T21" fmla="*/ 1267 h 1380"/>
                <a:gd name="T22" fmla="*/ 1034 w 1034"/>
                <a:gd name="T23" fmla="*/ 1267 h 1380"/>
                <a:gd name="T24" fmla="*/ 1034 w 1034"/>
                <a:gd name="T25" fmla="*/ 1380 h 1380"/>
                <a:gd name="T26" fmla="*/ 583 w 1034"/>
                <a:gd name="T27" fmla="*/ 1380 h 1380"/>
                <a:gd name="T28" fmla="*/ 583 w 1034"/>
                <a:gd name="T29" fmla="*/ 1267 h 1380"/>
                <a:gd name="T30" fmla="*/ 697 w 1034"/>
                <a:gd name="T31" fmla="*/ 1153 h 1380"/>
                <a:gd name="T32" fmla="*/ 630 w 1034"/>
                <a:gd name="T33" fmla="*/ 911 h 1380"/>
                <a:gd name="T34" fmla="*/ 373 w 1034"/>
                <a:gd name="T35" fmla="*/ 911 h 1380"/>
                <a:gd name="T36" fmla="*/ 593 w 1034"/>
                <a:gd name="T37" fmla="*/ 767 h 1380"/>
                <a:gd name="T38" fmla="*/ 502 w 1034"/>
                <a:gd name="T39" fmla="*/ 417 h 1380"/>
                <a:gd name="T40" fmla="*/ 411 w 1034"/>
                <a:gd name="T41" fmla="*/ 767 h 1380"/>
                <a:gd name="T42" fmla="*/ 593 w 1034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4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4" y="1212"/>
                    <a:pt x="357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4" y="1267"/>
                  </a:cubicBezTo>
                  <a:cubicBezTo>
                    <a:pt x="1034" y="1267"/>
                    <a:pt x="1034" y="1267"/>
                    <a:pt x="1034" y="1267"/>
                  </a:cubicBezTo>
                  <a:cubicBezTo>
                    <a:pt x="1034" y="1380"/>
                    <a:pt x="1034" y="1380"/>
                    <a:pt x="1034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5" name="Freeform 71"/>
            <p:cNvSpPr>
              <a:spLocks/>
            </p:cNvSpPr>
            <p:nvPr userDrawn="1"/>
          </p:nvSpPr>
          <p:spPr bwMode="auto">
            <a:xfrm>
              <a:off x="2878259" y="6099671"/>
              <a:ext cx="77066" cy="225652"/>
            </a:xfrm>
            <a:custGeom>
              <a:avLst/>
              <a:gdLst>
                <a:gd name="T0" fmla="*/ 358 w 472"/>
                <a:gd name="T1" fmla="*/ 228 h 1381"/>
                <a:gd name="T2" fmla="*/ 472 w 472"/>
                <a:gd name="T3" fmla="*/ 113 h 1381"/>
                <a:gd name="T4" fmla="*/ 472 w 472"/>
                <a:gd name="T5" fmla="*/ 0 h 1381"/>
                <a:gd name="T6" fmla="*/ 0 w 472"/>
                <a:gd name="T7" fmla="*/ 0 h 1381"/>
                <a:gd name="T8" fmla="*/ 0 w 472"/>
                <a:gd name="T9" fmla="*/ 113 h 1381"/>
                <a:gd name="T10" fmla="*/ 114 w 472"/>
                <a:gd name="T11" fmla="*/ 228 h 1381"/>
                <a:gd name="T12" fmla="*/ 114 w 472"/>
                <a:gd name="T13" fmla="*/ 1154 h 1381"/>
                <a:gd name="T14" fmla="*/ 0 w 472"/>
                <a:gd name="T15" fmla="*/ 1268 h 1381"/>
                <a:gd name="T16" fmla="*/ 0 w 472"/>
                <a:gd name="T17" fmla="*/ 1381 h 1381"/>
                <a:gd name="T18" fmla="*/ 472 w 472"/>
                <a:gd name="T19" fmla="*/ 1381 h 1381"/>
                <a:gd name="T20" fmla="*/ 472 w 472"/>
                <a:gd name="T21" fmla="*/ 1268 h 1381"/>
                <a:gd name="T22" fmla="*/ 358 w 472"/>
                <a:gd name="T23" fmla="*/ 1154 h 1381"/>
                <a:gd name="T24" fmla="*/ 358 w 472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1381">
                  <a:moveTo>
                    <a:pt x="358" y="228"/>
                  </a:moveTo>
                  <a:cubicBezTo>
                    <a:pt x="358" y="165"/>
                    <a:pt x="409" y="113"/>
                    <a:pt x="472" y="11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5"/>
                    <a:pt x="114" y="228"/>
                  </a:cubicBezTo>
                  <a:cubicBezTo>
                    <a:pt x="114" y="1154"/>
                    <a:pt x="114" y="1154"/>
                    <a:pt x="114" y="1154"/>
                  </a:cubicBezTo>
                  <a:cubicBezTo>
                    <a:pt x="114" y="1217"/>
                    <a:pt x="63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2" y="1381"/>
                    <a:pt x="472" y="1381"/>
                    <a:pt x="472" y="1381"/>
                  </a:cubicBezTo>
                  <a:cubicBezTo>
                    <a:pt x="472" y="1268"/>
                    <a:pt x="472" y="1268"/>
                    <a:pt x="472" y="1268"/>
                  </a:cubicBezTo>
                  <a:cubicBezTo>
                    <a:pt x="409" y="1268"/>
                    <a:pt x="358" y="1217"/>
                    <a:pt x="358" y="1154"/>
                  </a:cubicBezTo>
                  <a:lnTo>
                    <a:pt x="358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" name="Freeform 72"/>
            <p:cNvSpPr>
              <a:spLocks noEditPoints="1"/>
            </p:cNvSpPr>
            <p:nvPr userDrawn="1"/>
          </p:nvSpPr>
          <p:spPr bwMode="auto">
            <a:xfrm>
              <a:off x="3146426" y="6095974"/>
              <a:ext cx="156549" cy="232903"/>
            </a:xfrm>
            <a:custGeom>
              <a:avLst/>
              <a:gdLst>
                <a:gd name="T0" fmla="*/ 0 w 959"/>
                <a:gd name="T1" fmla="*/ 712 h 1425"/>
                <a:gd name="T2" fmla="*/ 480 w 959"/>
                <a:gd name="T3" fmla="*/ 0 h 1425"/>
                <a:gd name="T4" fmla="*/ 959 w 959"/>
                <a:gd name="T5" fmla="*/ 712 h 1425"/>
                <a:gd name="T6" fmla="*/ 480 w 959"/>
                <a:gd name="T7" fmla="*/ 1425 h 1425"/>
                <a:gd name="T8" fmla="*/ 0 w 959"/>
                <a:gd name="T9" fmla="*/ 712 h 1425"/>
                <a:gd name="T10" fmla="*/ 480 w 959"/>
                <a:gd name="T11" fmla="*/ 1260 h 1425"/>
                <a:gd name="T12" fmla="*/ 689 w 959"/>
                <a:gd name="T13" fmla="*/ 712 h 1425"/>
                <a:gd name="T14" fmla="*/ 480 w 959"/>
                <a:gd name="T15" fmla="*/ 164 h 1425"/>
                <a:gd name="T16" fmla="*/ 270 w 959"/>
                <a:gd name="T17" fmla="*/ 712 h 1425"/>
                <a:gd name="T18" fmla="*/ 480 w 959"/>
                <a:gd name="T19" fmla="*/ 126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9" h="1425">
                  <a:moveTo>
                    <a:pt x="0" y="712"/>
                  </a:moveTo>
                  <a:cubicBezTo>
                    <a:pt x="0" y="319"/>
                    <a:pt x="215" y="0"/>
                    <a:pt x="480" y="0"/>
                  </a:cubicBezTo>
                  <a:cubicBezTo>
                    <a:pt x="744" y="0"/>
                    <a:pt x="959" y="319"/>
                    <a:pt x="959" y="712"/>
                  </a:cubicBezTo>
                  <a:cubicBezTo>
                    <a:pt x="959" y="1106"/>
                    <a:pt x="744" y="1425"/>
                    <a:pt x="480" y="1425"/>
                  </a:cubicBezTo>
                  <a:cubicBezTo>
                    <a:pt x="215" y="1425"/>
                    <a:pt x="0" y="1106"/>
                    <a:pt x="0" y="712"/>
                  </a:cubicBezTo>
                  <a:close/>
                  <a:moveTo>
                    <a:pt x="480" y="1260"/>
                  </a:moveTo>
                  <a:cubicBezTo>
                    <a:pt x="595" y="1260"/>
                    <a:pt x="689" y="1015"/>
                    <a:pt x="689" y="712"/>
                  </a:cubicBezTo>
                  <a:cubicBezTo>
                    <a:pt x="689" y="410"/>
                    <a:pt x="595" y="164"/>
                    <a:pt x="480" y="164"/>
                  </a:cubicBezTo>
                  <a:cubicBezTo>
                    <a:pt x="364" y="164"/>
                    <a:pt x="270" y="410"/>
                    <a:pt x="270" y="712"/>
                  </a:cubicBezTo>
                  <a:cubicBezTo>
                    <a:pt x="270" y="1015"/>
                    <a:pt x="364" y="1260"/>
                    <a:pt x="480" y="126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" name="Freeform 73"/>
            <p:cNvSpPr>
              <a:spLocks noEditPoints="1"/>
            </p:cNvSpPr>
            <p:nvPr userDrawn="1"/>
          </p:nvSpPr>
          <p:spPr bwMode="auto">
            <a:xfrm>
              <a:off x="6089713" y="6095974"/>
              <a:ext cx="156549" cy="232903"/>
            </a:xfrm>
            <a:custGeom>
              <a:avLst/>
              <a:gdLst>
                <a:gd name="T0" fmla="*/ 0 w 959"/>
                <a:gd name="T1" fmla="*/ 712 h 1425"/>
                <a:gd name="T2" fmla="*/ 479 w 959"/>
                <a:gd name="T3" fmla="*/ 0 h 1425"/>
                <a:gd name="T4" fmla="*/ 959 w 959"/>
                <a:gd name="T5" fmla="*/ 712 h 1425"/>
                <a:gd name="T6" fmla="*/ 479 w 959"/>
                <a:gd name="T7" fmla="*/ 1425 h 1425"/>
                <a:gd name="T8" fmla="*/ 0 w 959"/>
                <a:gd name="T9" fmla="*/ 712 h 1425"/>
                <a:gd name="T10" fmla="*/ 479 w 959"/>
                <a:gd name="T11" fmla="*/ 1260 h 1425"/>
                <a:gd name="T12" fmla="*/ 689 w 959"/>
                <a:gd name="T13" fmla="*/ 712 h 1425"/>
                <a:gd name="T14" fmla="*/ 479 w 959"/>
                <a:gd name="T15" fmla="*/ 164 h 1425"/>
                <a:gd name="T16" fmla="*/ 270 w 959"/>
                <a:gd name="T17" fmla="*/ 712 h 1425"/>
                <a:gd name="T18" fmla="*/ 479 w 959"/>
                <a:gd name="T19" fmla="*/ 126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9" h="1425">
                  <a:moveTo>
                    <a:pt x="0" y="712"/>
                  </a:moveTo>
                  <a:cubicBezTo>
                    <a:pt x="0" y="319"/>
                    <a:pt x="215" y="0"/>
                    <a:pt x="479" y="0"/>
                  </a:cubicBezTo>
                  <a:cubicBezTo>
                    <a:pt x="744" y="0"/>
                    <a:pt x="959" y="319"/>
                    <a:pt x="959" y="712"/>
                  </a:cubicBezTo>
                  <a:cubicBezTo>
                    <a:pt x="959" y="1106"/>
                    <a:pt x="744" y="1425"/>
                    <a:pt x="479" y="1425"/>
                  </a:cubicBezTo>
                  <a:cubicBezTo>
                    <a:pt x="215" y="1425"/>
                    <a:pt x="0" y="1106"/>
                    <a:pt x="0" y="712"/>
                  </a:cubicBezTo>
                  <a:close/>
                  <a:moveTo>
                    <a:pt x="479" y="1260"/>
                  </a:moveTo>
                  <a:cubicBezTo>
                    <a:pt x="595" y="1260"/>
                    <a:pt x="689" y="1015"/>
                    <a:pt x="689" y="712"/>
                  </a:cubicBezTo>
                  <a:cubicBezTo>
                    <a:pt x="689" y="410"/>
                    <a:pt x="595" y="164"/>
                    <a:pt x="479" y="164"/>
                  </a:cubicBezTo>
                  <a:cubicBezTo>
                    <a:pt x="364" y="164"/>
                    <a:pt x="270" y="410"/>
                    <a:pt x="270" y="712"/>
                  </a:cubicBezTo>
                  <a:cubicBezTo>
                    <a:pt x="270" y="1015"/>
                    <a:pt x="364" y="1260"/>
                    <a:pt x="479" y="126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8" name="Freeform 74"/>
            <p:cNvSpPr>
              <a:spLocks/>
            </p:cNvSpPr>
            <p:nvPr userDrawn="1"/>
          </p:nvSpPr>
          <p:spPr bwMode="auto">
            <a:xfrm>
              <a:off x="2732801" y="6096258"/>
              <a:ext cx="129391" cy="234894"/>
            </a:xfrm>
            <a:custGeom>
              <a:avLst/>
              <a:gdLst>
                <a:gd name="T0" fmla="*/ 419 w 792"/>
                <a:gd name="T1" fmla="*/ 1424 h 1438"/>
                <a:gd name="T2" fmla="*/ 226 w 792"/>
                <a:gd name="T3" fmla="*/ 1360 h 1438"/>
                <a:gd name="T4" fmla="*/ 208 w 792"/>
                <a:gd name="T5" fmla="*/ 1402 h 1438"/>
                <a:gd name="T6" fmla="*/ 87 w 792"/>
                <a:gd name="T7" fmla="*/ 1402 h 1438"/>
                <a:gd name="T8" fmla="*/ 0 w 792"/>
                <a:gd name="T9" fmla="*/ 953 h 1438"/>
                <a:gd name="T10" fmla="*/ 113 w 792"/>
                <a:gd name="T11" fmla="*/ 889 h 1438"/>
                <a:gd name="T12" fmla="*/ 399 w 792"/>
                <a:gd name="T13" fmla="*/ 1261 h 1438"/>
                <a:gd name="T14" fmla="*/ 582 w 792"/>
                <a:gd name="T15" fmla="*/ 1043 h 1438"/>
                <a:gd name="T16" fmla="*/ 0 w 792"/>
                <a:gd name="T17" fmla="*/ 400 h 1438"/>
                <a:gd name="T18" fmla="*/ 312 w 792"/>
                <a:gd name="T19" fmla="*/ 0 h 1438"/>
                <a:gd name="T20" fmla="*/ 505 w 792"/>
                <a:gd name="T21" fmla="*/ 74 h 1438"/>
                <a:gd name="T22" fmla="*/ 523 w 792"/>
                <a:gd name="T23" fmla="*/ 32 h 1438"/>
                <a:gd name="T24" fmla="*/ 643 w 792"/>
                <a:gd name="T25" fmla="*/ 32 h 1438"/>
                <a:gd name="T26" fmla="*/ 710 w 792"/>
                <a:gd name="T27" fmla="*/ 389 h 1438"/>
                <a:gd name="T28" fmla="*/ 611 w 792"/>
                <a:gd name="T29" fmla="*/ 446 h 1438"/>
                <a:gd name="T30" fmla="*/ 346 w 792"/>
                <a:gd name="T31" fmla="*/ 161 h 1438"/>
                <a:gd name="T32" fmla="*/ 221 w 792"/>
                <a:gd name="T33" fmla="*/ 330 h 1438"/>
                <a:gd name="T34" fmla="*/ 792 w 792"/>
                <a:gd name="T35" fmla="*/ 965 h 1438"/>
                <a:gd name="T36" fmla="*/ 419 w 792"/>
                <a:gd name="T37" fmla="*/ 142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2" h="1438">
                  <a:moveTo>
                    <a:pt x="419" y="1424"/>
                  </a:moveTo>
                  <a:cubicBezTo>
                    <a:pt x="354" y="1424"/>
                    <a:pt x="281" y="1405"/>
                    <a:pt x="226" y="1360"/>
                  </a:cubicBezTo>
                  <a:cubicBezTo>
                    <a:pt x="208" y="1402"/>
                    <a:pt x="208" y="1402"/>
                    <a:pt x="208" y="1402"/>
                  </a:cubicBezTo>
                  <a:cubicBezTo>
                    <a:pt x="87" y="1402"/>
                    <a:pt x="87" y="1402"/>
                    <a:pt x="87" y="1402"/>
                  </a:cubicBezTo>
                  <a:cubicBezTo>
                    <a:pt x="0" y="953"/>
                    <a:pt x="0" y="953"/>
                    <a:pt x="0" y="953"/>
                  </a:cubicBezTo>
                  <a:cubicBezTo>
                    <a:pt x="113" y="889"/>
                    <a:pt x="113" y="889"/>
                    <a:pt x="113" y="889"/>
                  </a:cubicBezTo>
                  <a:cubicBezTo>
                    <a:pt x="218" y="1175"/>
                    <a:pt x="282" y="1261"/>
                    <a:pt x="399" y="1261"/>
                  </a:cubicBezTo>
                  <a:cubicBezTo>
                    <a:pt x="399" y="1261"/>
                    <a:pt x="582" y="1268"/>
                    <a:pt x="582" y="1043"/>
                  </a:cubicBezTo>
                  <a:cubicBezTo>
                    <a:pt x="582" y="706"/>
                    <a:pt x="0" y="924"/>
                    <a:pt x="0" y="400"/>
                  </a:cubicBezTo>
                  <a:cubicBezTo>
                    <a:pt x="0" y="213"/>
                    <a:pt x="77" y="0"/>
                    <a:pt x="312" y="0"/>
                  </a:cubicBezTo>
                  <a:cubicBezTo>
                    <a:pt x="377" y="0"/>
                    <a:pt x="449" y="29"/>
                    <a:pt x="505" y="74"/>
                  </a:cubicBezTo>
                  <a:cubicBezTo>
                    <a:pt x="523" y="32"/>
                    <a:pt x="523" y="32"/>
                    <a:pt x="523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710" y="389"/>
                    <a:pt x="710" y="389"/>
                    <a:pt x="710" y="389"/>
                  </a:cubicBezTo>
                  <a:cubicBezTo>
                    <a:pt x="611" y="446"/>
                    <a:pt x="611" y="446"/>
                    <a:pt x="611" y="446"/>
                  </a:cubicBezTo>
                  <a:cubicBezTo>
                    <a:pt x="527" y="252"/>
                    <a:pt x="463" y="161"/>
                    <a:pt x="346" y="161"/>
                  </a:cubicBezTo>
                  <a:cubicBezTo>
                    <a:pt x="259" y="161"/>
                    <a:pt x="221" y="259"/>
                    <a:pt x="221" y="330"/>
                  </a:cubicBezTo>
                  <a:cubicBezTo>
                    <a:pt x="221" y="673"/>
                    <a:pt x="792" y="405"/>
                    <a:pt x="792" y="965"/>
                  </a:cubicBezTo>
                  <a:cubicBezTo>
                    <a:pt x="792" y="1438"/>
                    <a:pt x="419" y="1424"/>
                    <a:pt x="419" y="14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9" name="Freeform 75"/>
            <p:cNvSpPr>
              <a:spLocks noEditPoints="1"/>
            </p:cNvSpPr>
            <p:nvPr userDrawn="1"/>
          </p:nvSpPr>
          <p:spPr bwMode="auto">
            <a:xfrm>
              <a:off x="4219375" y="6099955"/>
              <a:ext cx="155696" cy="225368"/>
            </a:xfrm>
            <a:custGeom>
              <a:avLst/>
              <a:gdLst>
                <a:gd name="T0" fmla="*/ 357 w 954"/>
                <a:gd name="T1" fmla="*/ 240 h 1379"/>
                <a:gd name="T2" fmla="*/ 463 w 954"/>
                <a:gd name="T3" fmla="*/ 136 h 1379"/>
                <a:gd name="T4" fmla="*/ 463 w 954"/>
                <a:gd name="T5" fmla="*/ 136 h 1379"/>
                <a:gd name="T6" fmla="*/ 654 w 954"/>
                <a:gd name="T7" fmla="*/ 373 h 1379"/>
                <a:gd name="T8" fmla="*/ 454 w 954"/>
                <a:gd name="T9" fmla="*/ 611 h 1379"/>
                <a:gd name="T10" fmla="*/ 357 w 954"/>
                <a:gd name="T11" fmla="*/ 611 h 1379"/>
                <a:gd name="T12" fmla="*/ 357 w 954"/>
                <a:gd name="T13" fmla="*/ 240 h 1379"/>
                <a:gd name="T14" fmla="*/ 652 w 954"/>
                <a:gd name="T15" fmla="*/ 734 h 1379"/>
                <a:gd name="T16" fmla="*/ 889 w 954"/>
                <a:gd name="T17" fmla="*/ 391 h 1379"/>
                <a:gd name="T18" fmla="*/ 587 w 954"/>
                <a:gd name="T19" fmla="*/ 0 h 1379"/>
                <a:gd name="T20" fmla="*/ 0 w 954"/>
                <a:gd name="T21" fmla="*/ 0 h 1379"/>
                <a:gd name="T22" fmla="*/ 0 w 954"/>
                <a:gd name="T23" fmla="*/ 113 h 1379"/>
                <a:gd name="T24" fmla="*/ 114 w 954"/>
                <a:gd name="T25" fmla="*/ 227 h 1379"/>
                <a:gd name="T26" fmla="*/ 114 w 954"/>
                <a:gd name="T27" fmla="*/ 1152 h 1379"/>
                <a:gd name="T28" fmla="*/ 0 w 954"/>
                <a:gd name="T29" fmla="*/ 1267 h 1379"/>
                <a:gd name="T30" fmla="*/ 0 w 954"/>
                <a:gd name="T31" fmla="*/ 1379 h 1379"/>
                <a:gd name="T32" fmla="*/ 471 w 954"/>
                <a:gd name="T33" fmla="*/ 1379 h 1379"/>
                <a:gd name="T34" fmla="*/ 471 w 954"/>
                <a:gd name="T35" fmla="*/ 1267 h 1379"/>
                <a:gd name="T36" fmla="*/ 357 w 954"/>
                <a:gd name="T37" fmla="*/ 1152 h 1379"/>
                <a:gd name="T38" fmla="*/ 357 w 954"/>
                <a:gd name="T39" fmla="*/ 777 h 1379"/>
                <a:gd name="T40" fmla="*/ 388 w 954"/>
                <a:gd name="T41" fmla="*/ 777 h 1379"/>
                <a:gd name="T42" fmla="*/ 654 w 954"/>
                <a:gd name="T43" fmla="*/ 1379 h 1379"/>
                <a:gd name="T44" fmla="*/ 954 w 954"/>
                <a:gd name="T45" fmla="*/ 1379 h 1379"/>
                <a:gd name="T46" fmla="*/ 954 w 954"/>
                <a:gd name="T47" fmla="*/ 1267 h 1379"/>
                <a:gd name="T48" fmla="*/ 840 w 954"/>
                <a:gd name="T49" fmla="*/ 1152 h 1379"/>
                <a:gd name="T50" fmla="*/ 652 w 954"/>
                <a:gd name="T51" fmla="*/ 734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4" h="1379">
                  <a:moveTo>
                    <a:pt x="357" y="240"/>
                  </a:moveTo>
                  <a:cubicBezTo>
                    <a:pt x="357" y="179"/>
                    <a:pt x="402" y="136"/>
                    <a:pt x="463" y="136"/>
                  </a:cubicBezTo>
                  <a:cubicBezTo>
                    <a:pt x="463" y="136"/>
                    <a:pt x="463" y="136"/>
                    <a:pt x="463" y="136"/>
                  </a:cubicBezTo>
                  <a:cubicBezTo>
                    <a:pt x="563" y="136"/>
                    <a:pt x="654" y="186"/>
                    <a:pt x="654" y="373"/>
                  </a:cubicBezTo>
                  <a:cubicBezTo>
                    <a:pt x="654" y="559"/>
                    <a:pt x="561" y="611"/>
                    <a:pt x="454" y="611"/>
                  </a:cubicBezTo>
                  <a:cubicBezTo>
                    <a:pt x="357" y="611"/>
                    <a:pt x="357" y="611"/>
                    <a:pt x="357" y="611"/>
                  </a:cubicBezTo>
                  <a:lnTo>
                    <a:pt x="357" y="240"/>
                  </a:lnTo>
                  <a:close/>
                  <a:moveTo>
                    <a:pt x="652" y="734"/>
                  </a:moveTo>
                  <a:cubicBezTo>
                    <a:pt x="768" y="703"/>
                    <a:pt x="889" y="610"/>
                    <a:pt x="889" y="391"/>
                  </a:cubicBezTo>
                  <a:cubicBezTo>
                    <a:pt x="889" y="99"/>
                    <a:pt x="751" y="0"/>
                    <a:pt x="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4"/>
                    <a:pt x="114" y="227"/>
                  </a:cubicBezTo>
                  <a:cubicBezTo>
                    <a:pt x="114" y="1152"/>
                    <a:pt x="114" y="1152"/>
                    <a:pt x="114" y="1152"/>
                  </a:cubicBezTo>
                  <a:cubicBezTo>
                    <a:pt x="114" y="1215"/>
                    <a:pt x="63" y="1267"/>
                    <a:pt x="0" y="1267"/>
                  </a:cubicBezTo>
                  <a:cubicBezTo>
                    <a:pt x="0" y="1379"/>
                    <a:pt x="0" y="1379"/>
                    <a:pt x="0" y="1379"/>
                  </a:cubicBezTo>
                  <a:cubicBezTo>
                    <a:pt x="471" y="1379"/>
                    <a:pt x="471" y="1379"/>
                    <a:pt x="471" y="1379"/>
                  </a:cubicBezTo>
                  <a:cubicBezTo>
                    <a:pt x="471" y="1267"/>
                    <a:pt x="471" y="1267"/>
                    <a:pt x="471" y="1267"/>
                  </a:cubicBezTo>
                  <a:cubicBezTo>
                    <a:pt x="408" y="1267"/>
                    <a:pt x="357" y="1215"/>
                    <a:pt x="357" y="1152"/>
                  </a:cubicBezTo>
                  <a:cubicBezTo>
                    <a:pt x="357" y="777"/>
                    <a:pt x="357" y="777"/>
                    <a:pt x="357" y="777"/>
                  </a:cubicBezTo>
                  <a:cubicBezTo>
                    <a:pt x="388" y="777"/>
                    <a:pt x="388" y="777"/>
                    <a:pt x="388" y="777"/>
                  </a:cubicBezTo>
                  <a:cubicBezTo>
                    <a:pt x="654" y="1379"/>
                    <a:pt x="654" y="1379"/>
                    <a:pt x="654" y="1379"/>
                  </a:cubicBezTo>
                  <a:cubicBezTo>
                    <a:pt x="954" y="1379"/>
                    <a:pt x="954" y="1379"/>
                    <a:pt x="954" y="1379"/>
                  </a:cubicBezTo>
                  <a:cubicBezTo>
                    <a:pt x="954" y="1267"/>
                    <a:pt x="954" y="1267"/>
                    <a:pt x="954" y="1267"/>
                  </a:cubicBezTo>
                  <a:cubicBezTo>
                    <a:pt x="881" y="1267"/>
                    <a:pt x="840" y="1152"/>
                    <a:pt x="840" y="1152"/>
                  </a:cubicBezTo>
                  <a:lnTo>
                    <a:pt x="652" y="7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0" name="Freeform 76"/>
            <p:cNvSpPr>
              <a:spLocks noEditPoints="1"/>
            </p:cNvSpPr>
            <p:nvPr userDrawn="1"/>
          </p:nvSpPr>
          <p:spPr bwMode="auto">
            <a:xfrm>
              <a:off x="5345360" y="6099955"/>
              <a:ext cx="155696" cy="225368"/>
            </a:xfrm>
            <a:custGeom>
              <a:avLst/>
              <a:gdLst>
                <a:gd name="T0" fmla="*/ 357 w 954"/>
                <a:gd name="T1" fmla="*/ 240 h 1379"/>
                <a:gd name="T2" fmla="*/ 464 w 954"/>
                <a:gd name="T3" fmla="*/ 136 h 1379"/>
                <a:gd name="T4" fmla="*/ 464 w 954"/>
                <a:gd name="T5" fmla="*/ 136 h 1379"/>
                <a:gd name="T6" fmla="*/ 655 w 954"/>
                <a:gd name="T7" fmla="*/ 373 h 1379"/>
                <a:gd name="T8" fmla="*/ 455 w 954"/>
                <a:gd name="T9" fmla="*/ 611 h 1379"/>
                <a:gd name="T10" fmla="*/ 357 w 954"/>
                <a:gd name="T11" fmla="*/ 611 h 1379"/>
                <a:gd name="T12" fmla="*/ 357 w 954"/>
                <a:gd name="T13" fmla="*/ 240 h 1379"/>
                <a:gd name="T14" fmla="*/ 653 w 954"/>
                <a:gd name="T15" fmla="*/ 734 h 1379"/>
                <a:gd name="T16" fmla="*/ 890 w 954"/>
                <a:gd name="T17" fmla="*/ 391 h 1379"/>
                <a:gd name="T18" fmla="*/ 588 w 954"/>
                <a:gd name="T19" fmla="*/ 0 h 1379"/>
                <a:gd name="T20" fmla="*/ 0 w 954"/>
                <a:gd name="T21" fmla="*/ 0 h 1379"/>
                <a:gd name="T22" fmla="*/ 0 w 954"/>
                <a:gd name="T23" fmla="*/ 113 h 1379"/>
                <a:gd name="T24" fmla="*/ 115 w 954"/>
                <a:gd name="T25" fmla="*/ 227 h 1379"/>
                <a:gd name="T26" fmla="*/ 115 w 954"/>
                <a:gd name="T27" fmla="*/ 1152 h 1379"/>
                <a:gd name="T28" fmla="*/ 0 w 954"/>
                <a:gd name="T29" fmla="*/ 1267 h 1379"/>
                <a:gd name="T30" fmla="*/ 0 w 954"/>
                <a:gd name="T31" fmla="*/ 1379 h 1379"/>
                <a:gd name="T32" fmla="*/ 472 w 954"/>
                <a:gd name="T33" fmla="*/ 1379 h 1379"/>
                <a:gd name="T34" fmla="*/ 472 w 954"/>
                <a:gd name="T35" fmla="*/ 1267 h 1379"/>
                <a:gd name="T36" fmla="*/ 357 w 954"/>
                <a:gd name="T37" fmla="*/ 1152 h 1379"/>
                <a:gd name="T38" fmla="*/ 357 w 954"/>
                <a:gd name="T39" fmla="*/ 777 h 1379"/>
                <a:gd name="T40" fmla="*/ 389 w 954"/>
                <a:gd name="T41" fmla="*/ 777 h 1379"/>
                <a:gd name="T42" fmla="*/ 654 w 954"/>
                <a:gd name="T43" fmla="*/ 1379 h 1379"/>
                <a:gd name="T44" fmla="*/ 954 w 954"/>
                <a:gd name="T45" fmla="*/ 1379 h 1379"/>
                <a:gd name="T46" fmla="*/ 954 w 954"/>
                <a:gd name="T47" fmla="*/ 1267 h 1379"/>
                <a:gd name="T48" fmla="*/ 840 w 954"/>
                <a:gd name="T49" fmla="*/ 1152 h 1379"/>
                <a:gd name="T50" fmla="*/ 653 w 954"/>
                <a:gd name="T51" fmla="*/ 734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4" h="1379">
                  <a:moveTo>
                    <a:pt x="357" y="240"/>
                  </a:moveTo>
                  <a:cubicBezTo>
                    <a:pt x="357" y="179"/>
                    <a:pt x="403" y="136"/>
                    <a:pt x="464" y="136"/>
                  </a:cubicBezTo>
                  <a:cubicBezTo>
                    <a:pt x="464" y="136"/>
                    <a:pt x="464" y="136"/>
                    <a:pt x="464" y="136"/>
                  </a:cubicBezTo>
                  <a:cubicBezTo>
                    <a:pt x="564" y="136"/>
                    <a:pt x="655" y="186"/>
                    <a:pt x="655" y="373"/>
                  </a:cubicBezTo>
                  <a:cubicBezTo>
                    <a:pt x="655" y="559"/>
                    <a:pt x="561" y="611"/>
                    <a:pt x="455" y="611"/>
                  </a:cubicBezTo>
                  <a:cubicBezTo>
                    <a:pt x="357" y="611"/>
                    <a:pt x="357" y="611"/>
                    <a:pt x="357" y="611"/>
                  </a:cubicBezTo>
                  <a:lnTo>
                    <a:pt x="357" y="240"/>
                  </a:lnTo>
                  <a:close/>
                  <a:moveTo>
                    <a:pt x="653" y="734"/>
                  </a:moveTo>
                  <a:cubicBezTo>
                    <a:pt x="769" y="703"/>
                    <a:pt x="890" y="610"/>
                    <a:pt x="890" y="391"/>
                  </a:cubicBezTo>
                  <a:cubicBezTo>
                    <a:pt x="890" y="99"/>
                    <a:pt x="751" y="0"/>
                    <a:pt x="5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5" y="164"/>
                    <a:pt x="115" y="227"/>
                  </a:cubicBezTo>
                  <a:cubicBezTo>
                    <a:pt x="115" y="1152"/>
                    <a:pt x="115" y="1152"/>
                    <a:pt x="115" y="1152"/>
                  </a:cubicBezTo>
                  <a:cubicBezTo>
                    <a:pt x="115" y="1215"/>
                    <a:pt x="63" y="1267"/>
                    <a:pt x="0" y="1267"/>
                  </a:cubicBezTo>
                  <a:cubicBezTo>
                    <a:pt x="0" y="1379"/>
                    <a:pt x="0" y="1379"/>
                    <a:pt x="0" y="1379"/>
                  </a:cubicBezTo>
                  <a:cubicBezTo>
                    <a:pt x="472" y="1379"/>
                    <a:pt x="472" y="1379"/>
                    <a:pt x="472" y="1379"/>
                  </a:cubicBezTo>
                  <a:cubicBezTo>
                    <a:pt x="472" y="1267"/>
                    <a:pt x="472" y="1267"/>
                    <a:pt x="472" y="1267"/>
                  </a:cubicBezTo>
                  <a:cubicBezTo>
                    <a:pt x="409" y="1267"/>
                    <a:pt x="357" y="1215"/>
                    <a:pt x="357" y="1152"/>
                  </a:cubicBezTo>
                  <a:cubicBezTo>
                    <a:pt x="357" y="777"/>
                    <a:pt x="357" y="777"/>
                    <a:pt x="357" y="777"/>
                  </a:cubicBezTo>
                  <a:cubicBezTo>
                    <a:pt x="389" y="777"/>
                    <a:pt x="389" y="777"/>
                    <a:pt x="389" y="777"/>
                  </a:cubicBezTo>
                  <a:cubicBezTo>
                    <a:pt x="654" y="1379"/>
                    <a:pt x="654" y="1379"/>
                    <a:pt x="654" y="1379"/>
                  </a:cubicBezTo>
                  <a:cubicBezTo>
                    <a:pt x="954" y="1379"/>
                    <a:pt x="954" y="1379"/>
                    <a:pt x="954" y="1379"/>
                  </a:cubicBezTo>
                  <a:cubicBezTo>
                    <a:pt x="954" y="1267"/>
                    <a:pt x="954" y="1267"/>
                    <a:pt x="954" y="1267"/>
                  </a:cubicBezTo>
                  <a:cubicBezTo>
                    <a:pt x="881" y="1267"/>
                    <a:pt x="840" y="1152"/>
                    <a:pt x="840" y="1152"/>
                  </a:cubicBezTo>
                  <a:lnTo>
                    <a:pt x="653" y="7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1" name="Freeform 77"/>
            <p:cNvSpPr>
              <a:spLocks/>
            </p:cNvSpPr>
            <p:nvPr userDrawn="1"/>
          </p:nvSpPr>
          <p:spPr bwMode="auto">
            <a:xfrm>
              <a:off x="3323307" y="6096258"/>
              <a:ext cx="129249" cy="234894"/>
            </a:xfrm>
            <a:custGeom>
              <a:avLst/>
              <a:gdLst>
                <a:gd name="T0" fmla="*/ 418 w 792"/>
                <a:gd name="T1" fmla="*/ 1424 h 1438"/>
                <a:gd name="T2" fmla="*/ 226 w 792"/>
                <a:gd name="T3" fmla="*/ 1360 h 1438"/>
                <a:gd name="T4" fmla="*/ 208 w 792"/>
                <a:gd name="T5" fmla="*/ 1402 h 1438"/>
                <a:gd name="T6" fmla="*/ 87 w 792"/>
                <a:gd name="T7" fmla="*/ 1402 h 1438"/>
                <a:gd name="T8" fmla="*/ 0 w 792"/>
                <a:gd name="T9" fmla="*/ 953 h 1438"/>
                <a:gd name="T10" fmla="*/ 113 w 792"/>
                <a:gd name="T11" fmla="*/ 889 h 1438"/>
                <a:gd name="T12" fmla="*/ 399 w 792"/>
                <a:gd name="T13" fmla="*/ 1261 h 1438"/>
                <a:gd name="T14" fmla="*/ 582 w 792"/>
                <a:gd name="T15" fmla="*/ 1043 h 1438"/>
                <a:gd name="T16" fmla="*/ 0 w 792"/>
                <a:gd name="T17" fmla="*/ 400 h 1438"/>
                <a:gd name="T18" fmla="*/ 312 w 792"/>
                <a:gd name="T19" fmla="*/ 0 h 1438"/>
                <a:gd name="T20" fmla="*/ 504 w 792"/>
                <a:gd name="T21" fmla="*/ 74 h 1438"/>
                <a:gd name="T22" fmla="*/ 522 w 792"/>
                <a:gd name="T23" fmla="*/ 32 h 1438"/>
                <a:gd name="T24" fmla="*/ 643 w 792"/>
                <a:gd name="T25" fmla="*/ 32 h 1438"/>
                <a:gd name="T26" fmla="*/ 710 w 792"/>
                <a:gd name="T27" fmla="*/ 389 h 1438"/>
                <a:gd name="T28" fmla="*/ 611 w 792"/>
                <a:gd name="T29" fmla="*/ 446 h 1438"/>
                <a:gd name="T30" fmla="*/ 346 w 792"/>
                <a:gd name="T31" fmla="*/ 161 h 1438"/>
                <a:gd name="T32" fmla="*/ 220 w 792"/>
                <a:gd name="T33" fmla="*/ 330 h 1438"/>
                <a:gd name="T34" fmla="*/ 792 w 792"/>
                <a:gd name="T35" fmla="*/ 965 h 1438"/>
                <a:gd name="T36" fmla="*/ 418 w 792"/>
                <a:gd name="T37" fmla="*/ 142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2" h="1438">
                  <a:moveTo>
                    <a:pt x="418" y="1424"/>
                  </a:moveTo>
                  <a:cubicBezTo>
                    <a:pt x="354" y="1424"/>
                    <a:pt x="281" y="1405"/>
                    <a:pt x="226" y="1360"/>
                  </a:cubicBezTo>
                  <a:cubicBezTo>
                    <a:pt x="208" y="1402"/>
                    <a:pt x="208" y="1402"/>
                    <a:pt x="208" y="1402"/>
                  </a:cubicBezTo>
                  <a:cubicBezTo>
                    <a:pt x="87" y="1402"/>
                    <a:pt x="87" y="1402"/>
                    <a:pt x="87" y="1402"/>
                  </a:cubicBezTo>
                  <a:cubicBezTo>
                    <a:pt x="0" y="953"/>
                    <a:pt x="0" y="953"/>
                    <a:pt x="0" y="953"/>
                  </a:cubicBezTo>
                  <a:cubicBezTo>
                    <a:pt x="113" y="889"/>
                    <a:pt x="113" y="889"/>
                    <a:pt x="113" y="889"/>
                  </a:cubicBezTo>
                  <a:cubicBezTo>
                    <a:pt x="218" y="1175"/>
                    <a:pt x="281" y="1261"/>
                    <a:pt x="399" y="1261"/>
                  </a:cubicBezTo>
                  <a:cubicBezTo>
                    <a:pt x="399" y="1261"/>
                    <a:pt x="582" y="1268"/>
                    <a:pt x="582" y="1043"/>
                  </a:cubicBezTo>
                  <a:cubicBezTo>
                    <a:pt x="582" y="706"/>
                    <a:pt x="0" y="924"/>
                    <a:pt x="0" y="400"/>
                  </a:cubicBezTo>
                  <a:cubicBezTo>
                    <a:pt x="0" y="213"/>
                    <a:pt x="77" y="0"/>
                    <a:pt x="312" y="0"/>
                  </a:cubicBezTo>
                  <a:cubicBezTo>
                    <a:pt x="376" y="0"/>
                    <a:pt x="449" y="29"/>
                    <a:pt x="504" y="7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710" y="389"/>
                    <a:pt x="710" y="389"/>
                    <a:pt x="710" y="389"/>
                  </a:cubicBezTo>
                  <a:cubicBezTo>
                    <a:pt x="611" y="446"/>
                    <a:pt x="611" y="446"/>
                    <a:pt x="611" y="446"/>
                  </a:cubicBezTo>
                  <a:cubicBezTo>
                    <a:pt x="527" y="252"/>
                    <a:pt x="463" y="161"/>
                    <a:pt x="346" y="161"/>
                  </a:cubicBezTo>
                  <a:cubicBezTo>
                    <a:pt x="259" y="161"/>
                    <a:pt x="220" y="259"/>
                    <a:pt x="220" y="330"/>
                  </a:cubicBezTo>
                  <a:cubicBezTo>
                    <a:pt x="220" y="673"/>
                    <a:pt x="792" y="405"/>
                    <a:pt x="792" y="965"/>
                  </a:cubicBezTo>
                  <a:cubicBezTo>
                    <a:pt x="792" y="1438"/>
                    <a:pt x="418" y="1424"/>
                    <a:pt x="418" y="14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2" name="Freeform 78"/>
            <p:cNvSpPr>
              <a:spLocks/>
            </p:cNvSpPr>
            <p:nvPr userDrawn="1"/>
          </p:nvSpPr>
          <p:spPr bwMode="auto">
            <a:xfrm>
              <a:off x="4050171" y="6099955"/>
              <a:ext cx="153136" cy="225510"/>
            </a:xfrm>
            <a:custGeom>
              <a:avLst/>
              <a:gdLst>
                <a:gd name="T0" fmla="*/ 843 w 938"/>
                <a:gd name="T1" fmla="*/ 0 h 1380"/>
                <a:gd name="T2" fmla="*/ 938 w 938"/>
                <a:gd name="T3" fmla="*/ 383 h 1380"/>
                <a:gd name="T4" fmla="*/ 817 w 938"/>
                <a:gd name="T5" fmla="*/ 443 h 1380"/>
                <a:gd name="T6" fmla="*/ 592 w 938"/>
                <a:gd name="T7" fmla="*/ 166 h 1380"/>
                <a:gd name="T8" fmla="*/ 592 w 938"/>
                <a:gd name="T9" fmla="*/ 1150 h 1380"/>
                <a:gd name="T10" fmla="*/ 708 w 938"/>
                <a:gd name="T11" fmla="*/ 1265 h 1380"/>
                <a:gd name="T12" fmla="*/ 708 w 938"/>
                <a:gd name="T13" fmla="*/ 1380 h 1380"/>
                <a:gd name="T14" fmla="*/ 230 w 938"/>
                <a:gd name="T15" fmla="*/ 1380 h 1380"/>
                <a:gd name="T16" fmla="*/ 230 w 938"/>
                <a:gd name="T17" fmla="*/ 1265 h 1380"/>
                <a:gd name="T18" fmla="*/ 346 w 938"/>
                <a:gd name="T19" fmla="*/ 1150 h 1380"/>
                <a:gd name="T20" fmla="*/ 346 w 938"/>
                <a:gd name="T21" fmla="*/ 166 h 1380"/>
                <a:gd name="T22" fmla="*/ 121 w 938"/>
                <a:gd name="T23" fmla="*/ 443 h 1380"/>
                <a:gd name="T24" fmla="*/ 0 w 938"/>
                <a:gd name="T25" fmla="*/ 383 h 1380"/>
                <a:gd name="T26" fmla="*/ 94 w 938"/>
                <a:gd name="T27" fmla="*/ 0 h 1380"/>
                <a:gd name="T28" fmla="*/ 843 w 938"/>
                <a:gd name="T29" fmla="*/ 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8" h="1380">
                  <a:moveTo>
                    <a:pt x="843" y="0"/>
                  </a:moveTo>
                  <a:cubicBezTo>
                    <a:pt x="938" y="383"/>
                    <a:pt x="938" y="383"/>
                    <a:pt x="938" y="383"/>
                  </a:cubicBezTo>
                  <a:cubicBezTo>
                    <a:pt x="817" y="443"/>
                    <a:pt x="817" y="443"/>
                    <a:pt x="817" y="443"/>
                  </a:cubicBezTo>
                  <a:cubicBezTo>
                    <a:pt x="698" y="145"/>
                    <a:pt x="615" y="166"/>
                    <a:pt x="592" y="166"/>
                  </a:cubicBezTo>
                  <a:cubicBezTo>
                    <a:pt x="592" y="1150"/>
                    <a:pt x="592" y="1150"/>
                    <a:pt x="592" y="1150"/>
                  </a:cubicBezTo>
                  <a:cubicBezTo>
                    <a:pt x="592" y="1214"/>
                    <a:pt x="644" y="1265"/>
                    <a:pt x="708" y="1265"/>
                  </a:cubicBezTo>
                  <a:cubicBezTo>
                    <a:pt x="708" y="1380"/>
                    <a:pt x="708" y="1380"/>
                    <a:pt x="708" y="1380"/>
                  </a:cubicBezTo>
                  <a:cubicBezTo>
                    <a:pt x="230" y="1380"/>
                    <a:pt x="230" y="1380"/>
                    <a:pt x="230" y="1380"/>
                  </a:cubicBezTo>
                  <a:cubicBezTo>
                    <a:pt x="230" y="1265"/>
                    <a:pt x="230" y="1265"/>
                    <a:pt x="230" y="1265"/>
                  </a:cubicBezTo>
                  <a:cubicBezTo>
                    <a:pt x="294" y="1265"/>
                    <a:pt x="346" y="1214"/>
                    <a:pt x="346" y="1150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23" y="166"/>
                    <a:pt x="240" y="145"/>
                    <a:pt x="121" y="44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8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3" name="Freeform 79"/>
            <p:cNvSpPr>
              <a:spLocks/>
            </p:cNvSpPr>
            <p:nvPr userDrawn="1"/>
          </p:nvSpPr>
          <p:spPr bwMode="auto">
            <a:xfrm>
              <a:off x="5022167" y="6099955"/>
              <a:ext cx="153136" cy="225510"/>
            </a:xfrm>
            <a:custGeom>
              <a:avLst/>
              <a:gdLst>
                <a:gd name="T0" fmla="*/ 843 w 938"/>
                <a:gd name="T1" fmla="*/ 0 h 1380"/>
                <a:gd name="T2" fmla="*/ 938 w 938"/>
                <a:gd name="T3" fmla="*/ 383 h 1380"/>
                <a:gd name="T4" fmla="*/ 817 w 938"/>
                <a:gd name="T5" fmla="*/ 443 h 1380"/>
                <a:gd name="T6" fmla="*/ 591 w 938"/>
                <a:gd name="T7" fmla="*/ 166 h 1380"/>
                <a:gd name="T8" fmla="*/ 591 w 938"/>
                <a:gd name="T9" fmla="*/ 1150 h 1380"/>
                <a:gd name="T10" fmla="*/ 708 w 938"/>
                <a:gd name="T11" fmla="*/ 1265 h 1380"/>
                <a:gd name="T12" fmla="*/ 708 w 938"/>
                <a:gd name="T13" fmla="*/ 1380 h 1380"/>
                <a:gd name="T14" fmla="*/ 229 w 938"/>
                <a:gd name="T15" fmla="*/ 1380 h 1380"/>
                <a:gd name="T16" fmla="*/ 229 w 938"/>
                <a:gd name="T17" fmla="*/ 1265 h 1380"/>
                <a:gd name="T18" fmla="*/ 346 w 938"/>
                <a:gd name="T19" fmla="*/ 1150 h 1380"/>
                <a:gd name="T20" fmla="*/ 346 w 938"/>
                <a:gd name="T21" fmla="*/ 166 h 1380"/>
                <a:gd name="T22" fmla="*/ 120 w 938"/>
                <a:gd name="T23" fmla="*/ 443 h 1380"/>
                <a:gd name="T24" fmla="*/ 0 w 938"/>
                <a:gd name="T25" fmla="*/ 383 h 1380"/>
                <a:gd name="T26" fmla="*/ 94 w 938"/>
                <a:gd name="T27" fmla="*/ 0 h 1380"/>
                <a:gd name="T28" fmla="*/ 843 w 938"/>
                <a:gd name="T29" fmla="*/ 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8" h="1380">
                  <a:moveTo>
                    <a:pt x="843" y="0"/>
                  </a:moveTo>
                  <a:cubicBezTo>
                    <a:pt x="938" y="383"/>
                    <a:pt x="938" y="383"/>
                    <a:pt x="938" y="383"/>
                  </a:cubicBezTo>
                  <a:cubicBezTo>
                    <a:pt x="817" y="443"/>
                    <a:pt x="817" y="443"/>
                    <a:pt x="817" y="443"/>
                  </a:cubicBezTo>
                  <a:cubicBezTo>
                    <a:pt x="698" y="145"/>
                    <a:pt x="614" y="166"/>
                    <a:pt x="591" y="166"/>
                  </a:cubicBezTo>
                  <a:cubicBezTo>
                    <a:pt x="591" y="1150"/>
                    <a:pt x="591" y="1150"/>
                    <a:pt x="591" y="1150"/>
                  </a:cubicBezTo>
                  <a:cubicBezTo>
                    <a:pt x="591" y="1214"/>
                    <a:pt x="644" y="1265"/>
                    <a:pt x="708" y="1265"/>
                  </a:cubicBezTo>
                  <a:cubicBezTo>
                    <a:pt x="708" y="1380"/>
                    <a:pt x="708" y="1380"/>
                    <a:pt x="708" y="1380"/>
                  </a:cubicBezTo>
                  <a:cubicBezTo>
                    <a:pt x="229" y="1380"/>
                    <a:pt x="229" y="1380"/>
                    <a:pt x="229" y="1380"/>
                  </a:cubicBezTo>
                  <a:cubicBezTo>
                    <a:pt x="229" y="1265"/>
                    <a:pt x="229" y="1265"/>
                    <a:pt x="229" y="1265"/>
                  </a:cubicBezTo>
                  <a:cubicBezTo>
                    <a:pt x="293" y="1265"/>
                    <a:pt x="346" y="1214"/>
                    <a:pt x="346" y="1150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23" y="166"/>
                    <a:pt x="240" y="145"/>
                    <a:pt x="120" y="44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8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4" name="Freeform 80"/>
            <p:cNvSpPr>
              <a:spLocks/>
            </p:cNvSpPr>
            <p:nvPr userDrawn="1"/>
          </p:nvSpPr>
          <p:spPr bwMode="auto">
            <a:xfrm>
              <a:off x="5830505" y="6099955"/>
              <a:ext cx="153278" cy="225510"/>
            </a:xfrm>
            <a:custGeom>
              <a:avLst/>
              <a:gdLst>
                <a:gd name="T0" fmla="*/ 843 w 938"/>
                <a:gd name="T1" fmla="*/ 0 h 1380"/>
                <a:gd name="T2" fmla="*/ 938 w 938"/>
                <a:gd name="T3" fmla="*/ 383 h 1380"/>
                <a:gd name="T4" fmla="*/ 817 w 938"/>
                <a:gd name="T5" fmla="*/ 443 h 1380"/>
                <a:gd name="T6" fmla="*/ 591 w 938"/>
                <a:gd name="T7" fmla="*/ 166 h 1380"/>
                <a:gd name="T8" fmla="*/ 591 w 938"/>
                <a:gd name="T9" fmla="*/ 1150 h 1380"/>
                <a:gd name="T10" fmla="*/ 708 w 938"/>
                <a:gd name="T11" fmla="*/ 1265 h 1380"/>
                <a:gd name="T12" fmla="*/ 708 w 938"/>
                <a:gd name="T13" fmla="*/ 1380 h 1380"/>
                <a:gd name="T14" fmla="*/ 229 w 938"/>
                <a:gd name="T15" fmla="*/ 1380 h 1380"/>
                <a:gd name="T16" fmla="*/ 229 w 938"/>
                <a:gd name="T17" fmla="*/ 1265 h 1380"/>
                <a:gd name="T18" fmla="*/ 346 w 938"/>
                <a:gd name="T19" fmla="*/ 1150 h 1380"/>
                <a:gd name="T20" fmla="*/ 346 w 938"/>
                <a:gd name="T21" fmla="*/ 166 h 1380"/>
                <a:gd name="T22" fmla="*/ 120 w 938"/>
                <a:gd name="T23" fmla="*/ 443 h 1380"/>
                <a:gd name="T24" fmla="*/ 0 w 938"/>
                <a:gd name="T25" fmla="*/ 383 h 1380"/>
                <a:gd name="T26" fmla="*/ 94 w 938"/>
                <a:gd name="T27" fmla="*/ 0 h 1380"/>
                <a:gd name="T28" fmla="*/ 843 w 938"/>
                <a:gd name="T29" fmla="*/ 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8" h="1380">
                  <a:moveTo>
                    <a:pt x="843" y="0"/>
                  </a:moveTo>
                  <a:cubicBezTo>
                    <a:pt x="938" y="383"/>
                    <a:pt x="938" y="383"/>
                    <a:pt x="938" y="383"/>
                  </a:cubicBezTo>
                  <a:cubicBezTo>
                    <a:pt x="817" y="443"/>
                    <a:pt x="817" y="443"/>
                    <a:pt x="817" y="443"/>
                  </a:cubicBezTo>
                  <a:cubicBezTo>
                    <a:pt x="698" y="145"/>
                    <a:pt x="615" y="166"/>
                    <a:pt x="591" y="166"/>
                  </a:cubicBezTo>
                  <a:cubicBezTo>
                    <a:pt x="591" y="1150"/>
                    <a:pt x="591" y="1150"/>
                    <a:pt x="591" y="1150"/>
                  </a:cubicBezTo>
                  <a:cubicBezTo>
                    <a:pt x="591" y="1214"/>
                    <a:pt x="644" y="1265"/>
                    <a:pt x="708" y="1265"/>
                  </a:cubicBezTo>
                  <a:cubicBezTo>
                    <a:pt x="708" y="1380"/>
                    <a:pt x="708" y="1380"/>
                    <a:pt x="708" y="1380"/>
                  </a:cubicBezTo>
                  <a:cubicBezTo>
                    <a:pt x="229" y="1380"/>
                    <a:pt x="229" y="1380"/>
                    <a:pt x="229" y="1380"/>
                  </a:cubicBezTo>
                  <a:cubicBezTo>
                    <a:pt x="229" y="1265"/>
                    <a:pt x="229" y="1265"/>
                    <a:pt x="229" y="1265"/>
                  </a:cubicBezTo>
                  <a:cubicBezTo>
                    <a:pt x="293" y="1265"/>
                    <a:pt x="346" y="1214"/>
                    <a:pt x="346" y="1150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23" y="166"/>
                    <a:pt x="240" y="145"/>
                    <a:pt x="120" y="44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8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5" name="Freeform 81"/>
            <p:cNvSpPr>
              <a:spLocks/>
            </p:cNvSpPr>
            <p:nvPr userDrawn="1"/>
          </p:nvSpPr>
          <p:spPr bwMode="auto">
            <a:xfrm>
              <a:off x="3735367" y="6099955"/>
              <a:ext cx="161099" cy="229064"/>
            </a:xfrm>
            <a:custGeom>
              <a:avLst/>
              <a:gdLst>
                <a:gd name="T0" fmla="*/ 874 w 987"/>
                <a:gd name="T1" fmla="*/ 826 h 1402"/>
                <a:gd name="T2" fmla="*/ 809 w 987"/>
                <a:gd name="T3" fmla="*/ 1263 h 1402"/>
                <a:gd name="T4" fmla="*/ 505 w 987"/>
                <a:gd name="T5" fmla="*/ 1402 h 1402"/>
                <a:gd name="T6" fmla="*/ 219 w 987"/>
                <a:gd name="T7" fmla="*/ 1288 h 1402"/>
                <a:gd name="T8" fmla="*/ 116 w 987"/>
                <a:gd name="T9" fmla="*/ 869 h 1402"/>
                <a:gd name="T10" fmla="*/ 116 w 987"/>
                <a:gd name="T11" fmla="*/ 227 h 1402"/>
                <a:gd name="T12" fmla="*/ 0 w 987"/>
                <a:gd name="T13" fmla="*/ 113 h 1402"/>
                <a:gd name="T14" fmla="*/ 0 w 987"/>
                <a:gd name="T15" fmla="*/ 0 h 1402"/>
                <a:gd name="T16" fmla="*/ 473 w 987"/>
                <a:gd name="T17" fmla="*/ 0 h 1402"/>
                <a:gd name="T18" fmla="*/ 473 w 987"/>
                <a:gd name="T19" fmla="*/ 113 h 1402"/>
                <a:gd name="T20" fmla="*/ 358 w 987"/>
                <a:gd name="T21" fmla="*/ 227 h 1402"/>
                <a:gd name="T22" fmla="*/ 358 w 987"/>
                <a:gd name="T23" fmla="*/ 878 h 1402"/>
                <a:gd name="T24" fmla="*/ 381 w 987"/>
                <a:gd name="T25" fmla="*/ 1176 h 1402"/>
                <a:gd name="T26" fmla="*/ 531 w 987"/>
                <a:gd name="T27" fmla="*/ 1242 h 1402"/>
                <a:gd name="T28" fmla="*/ 678 w 987"/>
                <a:gd name="T29" fmla="*/ 1157 h 1402"/>
                <a:gd name="T30" fmla="*/ 722 w 987"/>
                <a:gd name="T31" fmla="*/ 885 h 1402"/>
                <a:gd name="T32" fmla="*/ 722 w 987"/>
                <a:gd name="T33" fmla="*/ 315 h 1402"/>
                <a:gd name="T34" fmla="*/ 707 w 987"/>
                <a:gd name="T35" fmla="*/ 164 h 1402"/>
                <a:gd name="T36" fmla="*/ 609 w 987"/>
                <a:gd name="T37" fmla="*/ 113 h 1402"/>
                <a:gd name="T38" fmla="*/ 598 w 987"/>
                <a:gd name="T39" fmla="*/ 113 h 1402"/>
                <a:gd name="T40" fmla="*/ 598 w 987"/>
                <a:gd name="T41" fmla="*/ 0 h 1402"/>
                <a:gd name="T42" fmla="*/ 987 w 987"/>
                <a:gd name="T43" fmla="*/ 0 h 1402"/>
                <a:gd name="T44" fmla="*/ 987 w 987"/>
                <a:gd name="T45" fmla="*/ 113 h 1402"/>
                <a:gd name="T46" fmla="*/ 874 w 987"/>
                <a:gd name="T47" fmla="*/ 317 h 1402"/>
                <a:gd name="T48" fmla="*/ 874 w 987"/>
                <a:gd name="T49" fmla="*/ 826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87" h="1402">
                  <a:moveTo>
                    <a:pt x="874" y="826"/>
                  </a:moveTo>
                  <a:cubicBezTo>
                    <a:pt x="874" y="980"/>
                    <a:pt x="894" y="1148"/>
                    <a:pt x="809" y="1263"/>
                  </a:cubicBezTo>
                  <a:cubicBezTo>
                    <a:pt x="728" y="1371"/>
                    <a:pt x="611" y="1402"/>
                    <a:pt x="505" y="1402"/>
                  </a:cubicBezTo>
                  <a:cubicBezTo>
                    <a:pt x="407" y="1402"/>
                    <a:pt x="298" y="1375"/>
                    <a:pt x="219" y="1288"/>
                  </a:cubicBezTo>
                  <a:cubicBezTo>
                    <a:pt x="116" y="1177"/>
                    <a:pt x="113" y="1038"/>
                    <a:pt x="116" y="869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164"/>
                    <a:pt x="64" y="113"/>
                    <a:pt x="0" y="1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473" y="113"/>
                    <a:pt x="473" y="113"/>
                    <a:pt x="473" y="113"/>
                  </a:cubicBezTo>
                  <a:cubicBezTo>
                    <a:pt x="410" y="113"/>
                    <a:pt x="358" y="164"/>
                    <a:pt x="358" y="227"/>
                  </a:cubicBezTo>
                  <a:cubicBezTo>
                    <a:pt x="358" y="878"/>
                    <a:pt x="358" y="878"/>
                    <a:pt x="358" y="878"/>
                  </a:cubicBezTo>
                  <a:cubicBezTo>
                    <a:pt x="358" y="1105"/>
                    <a:pt x="348" y="1106"/>
                    <a:pt x="381" y="1176"/>
                  </a:cubicBezTo>
                  <a:cubicBezTo>
                    <a:pt x="388" y="1190"/>
                    <a:pt x="426" y="1242"/>
                    <a:pt x="531" y="1242"/>
                  </a:cubicBezTo>
                  <a:cubicBezTo>
                    <a:pt x="586" y="1242"/>
                    <a:pt x="639" y="1217"/>
                    <a:pt x="678" y="1157"/>
                  </a:cubicBezTo>
                  <a:cubicBezTo>
                    <a:pt x="724" y="1087"/>
                    <a:pt x="722" y="976"/>
                    <a:pt x="722" y="885"/>
                  </a:cubicBezTo>
                  <a:cubicBezTo>
                    <a:pt x="722" y="315"/>
                    <a:pt x="722" y="315"/>
                    <a:pt x="722" y="315"/>
                  </a:cubicBezTo>
                  <a:cubicBezTo>
                    <a:pt x="722" y="274"/>
                    <a:pt x="724" y="199"/>
                    <a:pt x="707" y="164"/>
                  </a:cubicBezTo>
                  <a:cubicBezTo>
                    <a:pt x="689" y="129"/>
                    <a:pt x="636" y="117"/>
                    <a:pt x="609" y="113"/>
                  </a:cubicBezTo>
                  <a:cubicBezTo>
                    <a:pt x="598" y="113"/>
                    <a:pt x="598" y="113"/>
                    <a:pt x="598" y="113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987" y="0"/>
                    <a:pt x="987" y="0"/>
                    <a:pt x="987" y="0"/>
                  </a:cubicBezTo>
                  <a:cubicBezTo>
                    <a:pt x="987" y="113"/>
                    <a:pt x="987" y="113"/>
                    <a:pt x="987" y="113"/>
                  </a:cubicBezTo>
                  <a:cubicBezTo>
                    <a:pt x="877" y="127"/>
                    <a:pt x="874" y="168"/>
                    <a:pt x="874" y="317"/>
                  </a:cubicBezTo>
                  <a:lnTo>
                    <a:pt x="874" y="82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6" name="Freeform 82"/>
            <p:cNvSpPr>
              <a:spLocks noEditPoints="1"/>
            </p:cNvSpPr>
            <p:nvPr userDrawn="1"/>
          </p:nvSpPr>
          <p:spPr bwMode="auto">
            <a:xfrm>
              <a:off x="3566306" y="6099671"/>
              <a:ext cx="168919" cy="225510"/>
            </a:xfrm>
            <a:custGeom>
              <a:avLst/>
              <a:gdLst>
                <a:gd name="T0" fmla="*/ 373 w 1034"/>
                <a:gd name="T1" fmla="*/ 911 h 1380"/>
                <a:gd name="T2" fmla="*/ 306 w 1034"/>
                <a:gd name="T3" fmla="*/ 1153 h 1380"/>
                <a:gd name="T4" fmla="*/ 420 w 1034"/>
                <a:gd name="T5" fmla="*/ 1267 h 1380"/>
                <a:gd name="T6" fmla="*/ 420 w 1034"/>
                <a:gd name="T7" fmla="*/ 1380 h 1380"/>
                <a:gd name="T8" fmla="*/ 0 w 1034"/>
                <a:gd name="T9" fmla="*/ 1380 h 1380"/>
                <a:gd name="T10" fmla="*/ 0 w 1034"/>
                <a:gd name="T11" fmla="*/ 1267 h 1380"/>
                <a:gd name="T12" fmla="*/ 114 w 1034"/>
                <a:gd name="T13" fmla="*/ 1153 h 1380"/>
                <a:gd name="T14" fmla="*/ 418 w 1034"/>
                <a:gd name="T15" fmla="*/ 0 h 1380"/>
                <a:gd name="T16" fmla="*/ 651 w 1034"/>
                <a:gd name="T17" fmla="*/ 0 h 1380"/>
                <a:gd name="T18" fmla="*/ 966 w 1034"/>
                <a:gd name="T19" fmla="*/ 1186 h 1380"/>
                <a:gd name="T20" fmla="*/ 1034 w 1034"/>
                <a:gd name="T21" fmla="*/ 1267 h 1380"/>
                <a:gd name="T22" fmla="*/ 1034 w 1034"/>
                <a:gd name="T23" fmla="*/ 1267 h 1380"/>
                <a:gd name="T24" fmla="*/ 1034 w 1034"/>
                <a:gd name="T25" fmla="*/ 1380 h 1380"/>
                <a:gd name="T26" fmla="*/ 582 w 1034"/>
                <a:gd name="T27" fmla="*/ 1380 h 1380"/>
                <a:gd name="T28" fmla="*/ 582 w 1034"/>
                <a:gd name="T29" fmla="*/ 1267 h 1380"/>
                <a:gd name="T30" fmla="*/ 697 w 1034"/>
                <a:gd name="T31" fmla="*/ 1153 h 1380"/>
                <a:gd name="T32" fmla="*/ 630 w 1034"/>
                <a:gd name="T33" fmla="*/ 911 h 1380"/>
                <a:gd name="T34" fmla="*/ 373 w 1034"/>
                <a:gd name="T35" fmla="*/ 911 h 1380"/>
                <a:gd name="T36" fmla="*/ 592 w 1034"/>
                <a:gd name="T37" fmla="*/ 767 h 1380"/>
                <a:gd name="T38" fmla="*/ 501 w 1034"/>
                <a:gd name="T39" fmla="*/ 417 h 1380"/>
                <a:gd name="T40" fmla="*/ 410 w 1034"/>
                <a:gd name="T41" fmla="*/ 767 h 1380"/>
                <a:gd name="T42" fmla="*/ 592 w 1034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4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4" y="1212"/>
                    <a:pt x="357" y="1267"/>
                    <a:pt x="420" y="1267"/>
                  </a:cubicBezTo>
                  <a:cubicBezTo>
                    <a:pt x="420" y="1380"/>
                    <a:pt x="420" y="1380"/>
                    <a:pt x="420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5" y="1222"/>
                    <a:pt x="1001" y="1252"/>
                    <a:pt x="1034" y="1267"/>
                  </a:cubicBezTo>
                  <a:cubicBezTo>
                    <a:pt x="1034" y="1267"/>
                    <a:pt x="1034" y="1267"/>
                    <a:pt x="1034" y="1267"/>
                  </a:cubicBezTo>
                  <a:cubicBezTo>
                    <a:pt x="1034" y="1380"/>
                    <a:pt x="1034" y="1380"/>
                    <a:pt x="1034" y="1380"/>
                  </a:cubicBezTo>
                  <a:cubicBezTo>
                    <a:pt x="582" y="1380"/>
                    <a:pt x="582" y="1380"/>
                    <a:pt x="582" y="1380"/>
                  </a:cubicBezTo>
                  <a:cubicBezTo>
                    <a:pt x="582" y="1267"/>
                    <a:pt x="582" y="1267"/>
                    <a:pt x="582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2" y="767"/>
                  </a:moveTo>
                  <a:cubicBezTo>
                    <a:pt x="501" y="417"/>
                    <a:pt x="501" y="417"/>
                    <a:pt x="501" y="417"/>
                  </a:cubicBezTo>
                  <a:cubicBezTo>
                    <a:pt x="410" y="767"/>
                    <a:pt x="410" y="767"/>
                    <a:pt x="410" y="767"/>
                  </a:cubicBezTo>
                  <a:lnTo>
                    <a:pt x="592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7" name="Freeform 83"/>
            <p:cNvSpPr>
              <a:spLocks noEditPoints="1"/>
            </p:cNvSpPr>
            <p:nvPr userDrawn="1"/>
          </p:nvSpPr>
          <p:spPr bwMode="auto">
            <a:xfrm>
              <a:off x="6425134" y="6099671"/>
              <a:ext cx="168919" cy="225510"/>
            </a:xfrm>
            <a:custGeom>
              <a:avLst/>
              <a:gdLst>
                <a:gd name="T0" fmla="*/ 373 w 1035"/>
                <a:gd name="T1" fmla="*/ 911 h 1380"/>
                <a:gd name="T2" fmla="*/ 306 w 1035"/>
                <a:gd name="T3" fmla="*/ 1153 h 1380"/>
                <a:gd name="T4" fmla="*/ 421 w 1035"/>
                <a:gd name="T5" fmla="*/ 1267 h 1380"/>
                <a:gd name="T6" fmla="*/ 421 w 1035"/>
                <a:gd name="T7" fmla="*/ 1380 h 1380"/>
                <a:gd name="T8" fmla="*/ 0 w 1035"/>
                <a:gd name="T9" fmla="*/ 1380 h 1380"/>
                <a:gd name="T10" fmla="*/ 0 w 1035"/>
                <a:gd name="T11" fmla="*/ 1267 h 1380"/>
                <a:gd name="T12" fmla="*/ 114 w 1035"/>
                <a:gd name="T13" fmla="*/ 1153 h 1380"/>
                <a:gd name="T14" fmla="*/ 419 w 1035"/>
                <a:gd name="T15" fmla="*/ 0 h 1380"/>
                <a:gd name="T16" fmla="*/ 652 w 1035"/>
                <a:gd name="T17" fmla="*/ 0 h 1380"/>
                <a:gd name="T18" fmla="*/ 966 w 1035"/>
                <a:gd name="T19" fmla="*/ 1186 h 1380"/>
                <a:gd name="T20" fmla="*/ 1035 w 1035"/>
                <a:gd name="T21" fmla="*/ 1267 h 1380"/>
                <a:gd name="T22" fmla="*/ 1035 w 1035"/>
                <a:gd name="T23" fmla="*/ 1267 h 1380"/>
                <a:gd name="T24" fmla="*/ 1034 w 1035"/>
                <a:gd name="T25" fmla="*/ 1380 h 1380"/>
                <a:gd name="T26" fmla="*/ 583 w 1035"/>
                <a:gd name="T27" fmla="*/ 1380 h 1380"/>
                <a:gd name="T28" fmla="*/ 583 w 1035"/>
                <a:gd name="T29" fmla="*/ 1267 h 1380"/>
                <a:gd name="T30" fmla="*/ 697 w 1035"/>
                <a:gd name="T31" fmla="*/ 1153 h 1380"/>
                <a:gd name="T32" fmla="*/ 630 w 1035"/>
                <a:gd name="T33" fmla="*/ 911 h 1380"/>
                <a:gd name="T34" fmla="*/ 373 w 1035"/>
                <a:gd name="T35" fmla="*/ 911 h 1380"/>
                <a:gd name="T36" fmla="*/ 593 w 1035"/>
                <a:gd name="T37" fmla="*/ 767 h 1380"/>
                <a:gd name="T38" fmla="*/ 502 w 1035"/>
                <a:gd name="T39" fmla="*/ 417 h 1380"/>
                <a:gd name="T40" fmla="*/ 411 w 1035"/>
                <a:gd name="T41" fmla="*/ 767 h 1380"/>
                <a:gd name="T42" fmla="*/ 593 w 1035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5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4" y="1212"/>
                    <a:pt x="358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5" y="1267"/>
                  </a:cubicBezTo>
                  <a:cubicBezTo>
                    <a:pt x="1035" y="1267"/>
                    <a:pt x="1035" y="1267"/>
                    <a:pt x="1035" y="1267"/>
                  </a:cubicBezTo>
                  <a:cubicBezTo>
                    <a:pt x="1034" y="1380"/>
                    <a:pt x="1034" y="1380"/>
                    <a:pt x="1034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" name="Freeform 84"/>
            <p:cNvSpPr>
              <a:spLocks noEditPoints="1"/>
            </p:cNvSpPr>
            <p:nvPr userDrawn="1"/>
          </p:nvSpPr>
          <p:spPr bwMode="auto">
            <a:xfrm>
              <a:off x="5675520" y="6099671"/>
              <a:ext cx="168919" cy="225510"/>
            </a:xfrm>
            <a:custGeom>
              <a:avLst/>
              <a:gdLst>
                <a:gd name="T0" fmla="*/ 373 w 1035"/>
                <a:gd name="T1" fmla="*/ 911 h 1380"/>
                <a:gd name="T2" fmla="*/ 306 w 1035"/>
                <a:gd name="T3" fmla="*/ 1153 h 1380"/>
                <a:gd name="T4" fmla="*/ 421 w 1035"/>
                <a:gd name="T5" fmla="*/ 1267 h 1380"/>
                <a:gd name="T6" fmla="*/ 421 w 1035"/>
                <a:gd name="T7" fmla="*/ 1380 h 1380"/>
                <a:gd name="T8" fmla="*/ 0 w 1035"/>
                <a:gd name="T9" fmla="*/ 1380 h 1380"/>
                <a:gd name="T10" fmla="*/ 0 w 1035"/>
                <a:gd name="T11" fmla="*/ 1267 h 1380"/>
                <a:gd name="T12" fmla="*/ 114 w 1035"/>
                <a:gd name="T13" fmla="*/ 1153 h 1380"/>
                <a:gd name="T14" fmla="*/ 419 w 1035"/>
                <a:gd name="T15" fmla="*/ 0 h 1380"/>
                <a:gd name="T16" fmla="*/ 652 w 1035"/>
                <a:gd name="T17" fmla="*/ 0 h 1380"/>
                <a:gd name="T18" fmla="*/ 966 w 1035"/>
                <a:gd name="T19" fmla="*/ 1186 h 1380"/>
                <a:gd name="T20" fmla="*/ 1035 w 1035"/>
                <a:gd name="T21" fmla="*/ 1267 h 1380"/>
                <a:gd name="T22" fmla="*/ 1035 w 1035"/>
                <a:gd name="T23" fmla="*/ 1267 h 1380"/>
                <a:gd name="T24" fmla="*/ 1035 w 1035"/>
                <a:gd name="T25" fmla="*/ 1380 h 1380"/>
                <a:gd name="T26" fmla="*/ 583 w 1035"/>
                <a:gd name="T27" fmla="*/ 1380 h 1380"/>
                <a:gd name="T28" fmla="*/ 583 w 1035"/>
                <a:gd name="T29" fmla="*/ 1267 h 1380"/>
                <a:gd name="T30" fmla="*/ 697 w 1035"/>
                <a:gd name="T31" fmla="*/ 1153 h 1380"/>
                <a:gd name="T32" fmla="*/ 630 w 1035"/>
                <a:gd name="T33" fmla="*/ 911 h 1380"/>
                <a:gd name="T34" fmla="*/ 373 w 1035"/>
                <a:gd name="T35" fmla="*/ 911 h 1380"/>
                <a:gd name="T36" fmla="*/ 593 w 1035"/>
                <a:gd name="T37" fmla="*/ 767 h 1380"/>
                <a:gd name="T38" fmla="*/ 502 w 1035"/>
                <a:gd name="T39" fmla="*/ 417 h 1380"/>
                <a:gd name="T40" fmla="*/ 411 w 1035"/>
                <a:gd name="T41" fmla="*/ 767 h 1380"/>
                <a:gd name="T42" fmla="*/ 593 w 1035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5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5" y="1212"/>
                    <a:pt x="358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5" y="1267"/>
                  </a:cubicBezTo>
                  <a:cubicBezTo>
                    <a:pt x="1035" y="1267"/>
                    <a:pt x="1035" y="1267"/>
                    <a:pt x="1035" y="1267"/>
                  </a:cubicBezTo>
                  <a:cubicBezTo>
                    <a:pt x="1035" y="1380"/>
                    <a:pt x="1035" y="1380"/>
                    <a:pt x="1035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" name="Freeform 85"/>
            <p:cNvSpPr>
              <a:spLocks noEditPoints="1"/>
            </p:cNvSpPr>
            <p:nvPr userDrawn="1"/>
          </p:nvSpPr>
          <p:spPr bwMode="auto">
            <a:xfrm>
              <a:off x="4488536" y="6099671"/>
              <a:ext cx="169061" cy="225510"/>
            </a:xfrm>
            <a:custGeom>
              <a:avLst/>
              <a:gdLst>
                <a:gd name="T0" fmla="*/ 374 w 1035"/>
                <a:gd name="T1" fmla="*/ 911 h 1380"/>
                <a:gd name="T2" fmla="*/ 306 w 1035"/>
                <a:gd name="T3" fmla="*/ 1153 h 1380"/>
                <a:gd name="T4" fmla="*/ 421 w 1035"/>
                <a:gd name="T5" fmla="*/ 1267 h 1380"/>
                <a:gd name="T6" fmla="*/ 421 w 1035"/>
                <a:gd name="T7" fmla="*/ 1380 h 1380"/>
                <a:gd name="T8" fmla="*/ 0 w 1035"/>
                <a:gd name="T9" fmla="*/ 1380 h 1380"/>
                <a:gd name="T10" fmla="*/ 0 w 1035"/>
                <a:gd name="T11" fmla="*/ 1267 h 1380"/>
                <a:gd name="T12" fmla="*/ 115 w 1035"/>
                <a:gd name="T13" fmla="*/ 1153 h 1380"/>
                <a:gd name="T14" fmla="*/ 419 w 1035"/>
                <a:gd name="T15" fmla="*/ 0 h 1380"/>
                <a:gd name="T16" fmla="*/ 652 w 1035"/>
                <a:gd name="T17" fmla="*/ 0 h 1380"/>
                <a:gd name="T18" fmla="*/ 966 w 1035"/>
                <a:gd name="T19" fmla="*/ 1186 h 1380"/>
                <a:gd name="T20" fmla="*/ 1035 w 1035"/>
                <a:gd name="T21" fmla="*/ 1267 h 1380"/>
                <a:gd name="T22" fmla="*/ 1035 w 1035"/>
                <a:gd name="T23" fmla="*/ 1267 h 1380"/>
                <a:gd name="T24" fmla="*/ 1035 w 1035"/>
                <a:gd name="T25" fmla="*/ 1380 h 1380"/>
                <a:gd name="T26" fmla="*/ 583 w 1035"/>
                <a:gd name="T27" fmla="*/ 1380 h 1380"/>
                <a:gd name="T28" fmla="*/ 583 w 1035"/>
                <a:gd name="T29" fmla="*/ 1267 h 1380"/>
                <a:gd name="T30" fmla="*/ 698 w 1035"/>
                <a:gd name="T31" fmla="*/ 1153 h 1380"/>
                <a:gd name="T32" fmla="*/ 630 w 1035"/>
                <a:gd name="T33" fmla="*/ 911 h 1380"/>
                <a:gd name="T34" fmla="*/ 374 w 1035"/>
                <a:gd name="T35" fmla="*/ 911 h 1380"/>
                <a:gd name="T36" fmla="*/ 593 w 1035"/>
                <a:gd name="T37" fmla="*/ 767 h 1380"/>
                <a:gd name="T38" fmla="*/ 502 w 1035"/>
                <a:gd name="T39" fmla="*/ 417 h 1380"/>
                <a:gd name="T40" fmla="*/ 411 w 1035"/>
                <a:gd name="T41" fmla="*/ 767 h 1380"/>
                <a:gd name="T42" fmla="*/ 593 w 1035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5" h="1380">
                  <a:moveTo>
                    <a:pt x="374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5" y="1212"/>
                    <a:pt x="358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100" y="1207"/>
                    <a:pt x="115" y="1153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5" y="1267"/>
                  </a:cubicBezTo>
                  <a:cubicBezTo>
                    <a:pt x="1035" y="1267"/>
                    <a:pt x="1035" y="1267"/>
                    <a:pt x="1035" y="1267"/>
                  </a:cubicBezTo>
                  <a:cubicBezTo>
                    <a:pt x="1035" y="1380"/>
                    <a:pt x="1035" y="1380"/>
                    <a:pt x="1035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8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4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" name="Freeform 86"/>
            <p:cNvSpPr>
              <a:spLocks/>
            </p:cNvSpPr>
            <p:nvPr userDrawn="1"/>
          </p:nvSpPr>
          <p:spPr bwMode="auto">
            <a:xfrm>
              <a:off x="3917083" y="6096258"/>
              <a:ext cx="129391" cy="234894"/>
            </a:xfrm>
            <a:custGeom>
              <a:avLst/>
              <a:gdLst>
                <a:gd name="T0" fmla="*/ 418 w 792"/>
                <a:gd name="T1" fmla="*/ 1424 h 1438"/>
                <a:gd name="T2" fmla="*/ 225 w 792"/>
                <a:gd name="T3" fmla="*/ 1360 h 1438"/>
                <a:gd name="T4" fmla="*/ 207 w 792"/>
                <a:gd name="T5" fmla="*/ 1402 h 1438"/>
                <a:gd name="T6" fmla="*/ 87 w 792"/>
                <a:gd name="T7" fmla="*/ 1402 h 1438"/>
                <a:gd name="T8" fmla="*/ 0 w 792"/>
                <a:gd name="T9" fmla="*/ 953 h 1438"/>
                <a:gd name="T10" fmla="*/ 113 w 792"/>
                <a:gd name="T11" fmla="*/ 889 h 1438"/>
                <a:gd name="T12" fmla="*/ 398 w 792"/>
                <a:gd name="T13" fmla="*/ 1261 h 1438"/>
                <a:gd name="T14" fmla="*/ 581 w 792"/>
                <a:gd name="T15" fmla="*/ 1043 h 1438"/>
                <a:gd name="T16" fmla="*/ 0 w 792"/>
                <a:gd name="T17" fmla="*/ 400 h 1438"/>
                <a:gd name="T18" fmla="*/ 311 w 792"/>
                <a:gd name="T19" fmla="*/ 0 h 1438"/>
                <a:gd name="T20" fmla="*/ 504 w 792"/>
                <a:gd name="T21" fmla="*/ 74 h 1438"/>
                <a:gd name="T22" fmla="*/ 522 w 792"/>
                <a:gd name="T23" fmla="*/ 32 h 1438"/>
                <a:gd name="T24" fmla="*/ 643 w 792"/>
                <a:gd name="T25" fmla="*/ 32 h 1438"/>
                <a:gd name="T26" fmla="*/ 709 w 792"/>
                <a:gd name="T27" fmla="*/ 389 h 1438"/>
                <a:gd name="T28" fmla="*/ 611 w 792"/>
                <a:gd name="T29" fmla="*/ 446 h 1438"/>
                <a:gd name="T30" fmla="*/ 346 w 792"/>
                <a:gd name="T31" fmla="*/ 161 h 1438"/>
                <a:gd name="T32" fmla="*/ 220 w 792"/>
                <a:gd name="T33" fmla="*/ 330 h 1438"/>
                <a:gd name="T34" fmla="*/ 792 w 792"/>
                <a:gd name="T35" fmla="*/ 965 h 1438"/>
                <a:gd name="T36" fmla="*/ 418 w 792"/>
                <a:gd name="T37" fmla="*/ 142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2" h="1438">
                  <a:moveTo>
                    <a:pt x="418" y="1424"/>
                  </a:moveTo>
                  <a:cubicBezTo>
                    <a:pt x="353" y="1424"/>
                    <a:pt x="281" y="1405"/>
                    <a:pt x="225" y="1360"/>
                  </a:cubicBezTo>
                  <a:cubicBezTo>
                    <a:pt x="207" y="1402"/>
                    <a:pt x="207" y="1402"/>
                    <a:pt x="207" y="1402"/>
                  </a:cubicBezTo>
                  <a:cubicBezTo>
                    <a:pt x="87" y="1402"/>
                    <a:pt x="87" y="1402"/>
                    <a:pt x="87" y="1402"/>
                  </a:cubicBezTo>
                  <a:cubicBezTo>
                    <a:pt x="0" y="953"/>
                    <a:pt x="0" y="953"/>
                    <a:pt x="0" y="953"/>
                  </a:cubicBezTo>
                  <a:cubicBezTo>
                    <a:pt x="113" y="889"/>
                    <a:pt x="113" y="889"/>
                    <a:pt x="113" y="889"/>
                  </a:cubicBezTo>
                  <a:cubicBezTo>
                    <a:pt x="217" y="1175"/>
                    <a:pt x="281" y="1261"/>
                    <a:pt x="398" y="1261"/>
                  </a:cubicBezTo>
                  <a:cubicBezTo>
                    <a:pt x="398" y="1261"/>
                    <a:pt x="581" y="1268"/>
                    <a:pt x="581" y="1043"/>
                  </a:cubicBezTo>
                  <a:cubicBezTo>
                    <a:pt x="581" y="706"/>
                    <a:pt x="0" y="924"/>
                    <a:pt x="0" y="400"/>
                  </a:cubicBezTo>
                  <a:cubicBezTo>
                    <a:pt x="0" y="213"/>
                    <a:pt x="76" y="0"/>
                    <a:pt x="311" y="0"/>
                  </a:cubicBezTo>
                  <a:cubicBezTo>
                    <a:pt x="376" y="0"/>
                    <a:pt x="448" y="29"/>
                    <a:pt x="504" y="7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709" y="389"/>
                    <a:pt x="709" y="389"/>
                    <a:pt x="709" y="389"/>
                  </a:cubicBezTo>
                  <a:cubicBezTo>
                    <a:pt x="611" y="446"/>
                    <a:pt x="611" y="446"/>
                    <a:pt x="611" y="446"/>
                  </a:cubicBezTo>
                  <a:cubicBezTo>
                    <a:pt x="526" y="252"/>
                    <a:pt x="463" y="161"/>
                    <a:pt x="346" y="161"/>
                  </a:cubicBezTo>
                  <a:cubicBezTo>
                    <a:pt x="258" y="161"/>
                    <a:pt x="220" y="259"/>
                    <a:pt x="220" y="330"/>
                  </a:cubicBezTo>
                  <a:cubicBezTo>
                    <a:pt x="220" y="673"/>
                    <a:pt x="792" y="405"/>
                    <a:pt x="792" y="965"/>
                  </a:cubicBezTo>
                  <a:cubicBezTo>
                    <a:pt x="792" y="1438"/>
                    <a:pt x="418" y="1424"/>
                    <a:pt x="418" y="14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87"/>
            <p:cNvSpPr>
              <a:spLocks/>
            </p:cNvSpPr>
            <p:nvPr userDrawn="1"/>
          </p:nvSpPr>
          <p:spPr bwMode="auto">
            <a:xfrm>
              <a:off x="4395830" y="6099671"/>
              <a:ext cx="77066" cy="225652"/>
            </a:xfrm>
            <a:custGeom>
              <a:avLst/>
              <a:gdLst>
                <a:gd name="T0" fmla="*/ 358 w 472"/>
                <a:gd name="T1" fmla="*/ 228 h 1381"/>
                <a:gd name="T2" fmla="*/ 472 w 472"/>
                <a:gd name="T3" fmla="*/ 113 h 1381"/>
                <a:gd name="T4" fmla="*/ 472 w 472"/>
                <a:gd name="T5" fmla="*/ 0 h 1381"/>
                <a:gd name="T6" fmla="*/ 0 w 472"/>
                <a:gd name="T7" fmla="*/ 0 h 1381"/>
                <a:gd name="T8" fmla="*/ 0 w 472"/>
                <a:gd name="T9" fmla="*/ 113 h 1381"/>
                <a:gd name="T10" fmla="*/ 114 w 472"/>
                <a:gd name="T11" fmla="*/ 228 h 1381"/>
                <a:gd name="T12" fmla="*/ 114 w 472"/>
                <a:gd name="T13" fmla="*/ 1154 h 1381"/>
                <a:gd name="T14" fmla="*/ 0 w 472"/>
                <a:gd name="T15" fmla="*/ 1268 h 1381"/>
                <a:gd name="T16" fmla="*/ 0 w 472"/>
                <a:gd name="T17" fmla="*/ 1381 h 1381"/>
                <a:gd name="T18" fmla="*/ 472 w 472"/>
                <a:gd name="T19" fmla="*/ 1381 h 1381"/>
                <a:gd name="T20" fmla="*/ 472 w 472"/>
                <a:gd name="T21" fmla="*/ 1268 h 1381"/>
                <a:gd name="T22" fmla="*/ 358 w 472"/>
                <a:gd name="T23" fmla="*/ 1154 h 1381"/>
                <a:gd name="T24" fmla="*/ 358 w 472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1381">
                  <a:moveTo>
                    <a:pt x="358" y="228"/>
                  </a:moveTo>
                  <a:cubicBezTo>
                    <a:pt x="358" y="165"/>
                    <a:pt x="409" y="113"/>
                    <a:pt x="472" y="11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5"/>
                    <a:pt x="114" y="228"/>
                  </a:cubicBezTo>
                  <a:cubicBezTo>
                    <a:pt x="114" y="1154"/>
                    <a:pt x="114" y="1154"/>
                    <a:pt x="114" y="1154"/>
                  </a:cubicBezTo>
                  <a:cubicBezTo>
                    <a:pt x="114" y="1217"/>
                    <a:pt x="63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2" y="1381"/>
                    <a:pt x="472" y="1381"/>
                    <a:pt x="472" y="1381"/>
                  </a:cubicBezTo>
                  <a:cubicBezTo>
                    <a:pt x="472" y="1268"/>
                    <a:pt x="472" y="1268"/>
                    <a:pt x="472" y="1268"/>
                  </a:cubicBezTo>
                  <a:cubicBezTo>
                    <a:pt x="409" y="1268"/>
                    <a:pt x="358" y="1217"/>
                    <a:pt x="358" y="1154"/>
                  </a:cubicBezTo>
                  <a:lnTo>
                    <a:pt x="358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88"/>
            <p:cNvSpPr>
              <a:spLocks/>
            </p:cNvSpPr>
            <p:nvPr userDrawn="1"/>
          </p:nvSpPr>
          <p:spPr bwMode="auto">
            <a:xfrm>
              <a:off x="5994305" y="6099671"/>
              <a:ext cx="77066" cy="225652"/>
            </a:xfrm>
            <a:custGeom>
              <a:avLst/>
              <a:gdLst>
                <a:gd name="T0" fmla="*/ 357 w 472"/>
                <a:gd name="T1" fmla="*/ 228 h 1381"/>
                <a:gd name="T2" fmla="*/ 472 w 472"/>
                <a:gd name="T3" fmla="*/ 113 h 1381"/>
                <a:gd name="T4" fmla="*/ 472 w 472"/>
                <a:gd name="T5" fmla="*/ 0 h 1381"/>
                <a:gd name="T6" fmla="*/ 0 w 472"/>
                <a:gd name="T7" fmla="*/ 0 h 1381"/>
                <a:gd name="T8" fmla="*/ 0 w 472"/>
                <a:gd name="T9" fmla="*/ 113 h 1381"/>
                <a:gd name="T10" fmla="*/ 114 w 472"/>
                <a:gd name="T11" fmla="*/ 228 h 1381"/>
                <a:gd name="T12" fmla="*/ 114 w 472"/>
                <a:gd name="T13" fmla="*/ 1154 h 1381"/>
                <a:gd name="T14" fmla="*/ 0 w 472"/>
                <a:gd name="T15" fmla="*/ 1268 h 1381"/>
                <a:gd name="T16" fmla="*/ 0 w 472"/>
                <a:gd name="T17" fmla="*/ 1381 h 1381"/>
                <a:gd name="T18" fmla="*/ 472 w 472"/>
                <a:gd name="T19" fmla="*/ 1381 h 1381"/>
                <a:gd name="T20" fmla="*/ 472 w 472"/>
                <a:gd name="T21" fmla="*/ 1268 h 1381"/>
                <a:gd name="T22" fmla="*/ 357 w 472"/>
                <a:gd name="T23" fmla="*/ 1154 h 1381"/>
                <a:gd name="T24" fmla="*/ 357 w 472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1381">
                  <a:moveTo>
                    <a:pt x="357" y="228"/>
                  </a:moveTo>
                  <a:cubicBezTo>
                    <a:pt x="357" y="165"/>
                    <a:pt x="409" y="113"/>
                    <a:pt x="472" y="11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5"/>
                    <a:pt x="114" y="228"/>
                  </a:cubicBezTo>
                  <a:cubicBezTo>
                    <a:pt x="114" y="1154"/>
                    <a:pt x="114" y="1154"/>
                    <a:pt x="114" y="1154"/>
                  </a:cubicBezTo>
                  <a:cubicBezTo>
                    <a:pt x="114" y="1217"/>
                    <a:pt x="63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2" y="1381"/>
                    <a:pt x="472" y="1381"/>
                    <a:pt x="472" y="1381"/>
                  </a:cubicBezTo>
                  <a:cubicBezTo>
                    <a:pt x="472" y="1268"/>
                    <a:pt x="472" y="1268"/>
                    <a:pt x="472" y="1268"/>
                  </a:cubicBezTo>
                  <a:cubicBezTo>
                    <a:pt x="409" y="1268"/>
                    <a:pt x="357" y="1217"/>
                    <a:pt x="357" y="1154"/>
                  </a:cubicBezTo>
                  <a:lnTo>
                    <a:pt x="357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89"/>
            <p:cNvSpPr>
              <a:spLocks/>
            </p:cNvSpPr>
            <p:nvPr userDrawn="1"/>
          </p:nvSpPr>
          <p:spPr bwMode="auto">
            <a:xfrm>
              <a:off x="4748456" y="6099671"/>
              <a:ext cx="77350" cy="225652"/>
            </a:xfrm>
            <a:custGeom>
              <a:avLst/>
              <a:gdLst>
                <a:gd name="T0" fmla="*/ 358 w 473"/>
                <a:gd name="T1" fmla="*/ 228 h 1381"/>
                <a:gd name="T2" fmla="*/ 473 w 473"/>
                <a:gd name="T3" fmla="*/ 113 h 1381"/>
                <a:gd name="T4" fmla="*/ 473 w 473"/>
                <a:gd name="T5" fmla="*/ 0 h 1381"/>
                <a:gd name="T6" fmla="*/ 0 w 473"/>
                <a:gd name="T7" fmla="*/ 0 h 1381"/>
                <a:gd name="T8" fmla="*/ 0 w 473"/>
                <a:gd name="T9" fmla="*/ 113 h 1381"/>
                <a:gd name="T10" fmla="*/ 115 w 473"/>
                <a:gd name="T11" fmla="*/ 228 h 1381"/>
                <a:gd name="T12" fmla="*/ 115 w 473"/>
                <a:gd name="T13" fmla="*/ 1154 h 1381"/>
                <a:gd name="T14" fmla="*/ 0 w 473"/>
                <a:gd name="T15" fmla="*/ 1268 h 1381"/>
                <a:gd name="T16" fmla="*/ 0 w 473"/>
                <a:gd name="T17" fmla="*/ 1381 h 1381"/>
                <a:gd name="T18" fmla="*/ 473 w 473"/>
                <a:gd name="T19" fmla="*/ 1381 h 1381"/>
                <a:gd name="T20" fmla="*/ 473 w 473"/>
                <a:gd name="T21" fmla="*/ 1268 h 1381"/>
                <a:gd name="T22" fmla="*/ 358 w 473"/>
                <a:gd name="T23" fmla="*/ 1154 h 1381"/>
                <a:gd name="T24" fmla="*/ 358 w 473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3" h="1381">
                  <a:moveTo>
                    <a:pt x="358" y="228"/>
                  </a:moveTo>
                  <a:cubicBezTo>
                    <a:pt x="358" y="165"/>
                    <a:pt x="410" y="113"/>
                    <a:pt x="473" y="113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4" y="113"/>
                    <a:pt x="115" y="165"/>
                    <a:pt x="115" y="228"/>
                  </a:cubicBezTo>
                  <a:cubicBezTo>
                    <a:pt x="115" y="1154"/>
                    <a:pt x="115" y="1154"/>
                    <a:pt x="115" y="1154"/>
                  </a:cubicBezTo>
                  <a:cubicBezTo>
                    <a:pt x="115" y="1217"/>
                    <a:pt x="64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3" y="1381"/>
                    <a:pt x="473" y="1381"/>
                    <a:pt x="473" y="1381"/>
                  </a:cubicBezTo>
                  <a:cubicBezTo>
                    <a:pt x="473" y="1268"/>
                    <a:pt x="473" y="1268"/>
                    <a:pt x="473" y="1268"/>
                  </a:cubicBezTo>
                  <a:cubicBezTo>
                    <a:pt x="410" y="1268"/>
                    <a:pt x="358" y="1217"/>
                    <a:pt x="358" y="1154"/>
                  </a:cubicBezTo>
                  <a:lnTo>
                    <a:pt x="358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4" name="Freeform 90"/>
            <p:cNvSpPr>
              <a:spLocks/>
            </p:cNvSpPr>
            <p:nvPr userDrawn="1"/>
          </p:nvSpPr>
          <p:spPr bwMode="auto">
            <a:xfrm>
              <a:off x="2356572" y="6050332"/>
              <a:ext cx="177308" cy="279257"/>
            </a:xfrm>
            <a:custGeom>
              <a:avLst/>
              <a:gdLst>
                <a:gd name="T0" fmla="*/ 919 w 1086"/>
                <a:gd name="T1" fmla="*/ 639 h 1709"/>
                <a:gd name="T2" fmla="*/ 616 w 1086"/>
                <a:gd name="T3" fmla="*/ 193 h 1709"/>
                <a:gd name="T4" fmla="*/ 296 w 1086"/>
                <a:gd name="T5" fmla="*/ 854 h 1709"/>
                <a:gd name="T6" fmla="*/ 616 w 1086"/>
                <a:gd name="T7" fmla="*/ 1515 h 1709"/>
                <a:gd name="T8" fmla="*/ 941 w 1086"/>
                <a:gd name="T9" fmla="*/ 1132 h 1709"/>
                <a:gd name="T10" fmla="*/ 1086 w 1086"/>
                <a:gd name="T11" fmla="*/ 1247 h 1709"/>
                <a:gd name="T12" fmla="*/ 575 w 1086"/>
                <a:gd name="T13" fmla="*/ 1709 h 1709"/>
                <a:gd name="T14" fmla="*/ 0 w 1086"/>
                <a:gd name="T15" fmla="*/ 854 h 1709"/>
                <a:gd name="T16" fmla="*/ 575 w 1086"/>
                <a:gd name="T17" fmla="*/ 0 h 1709"/>
                <a:gd name="T18" fmla="*/ 806 w 1086"/>
                <a:gd name="T19" fmla="*/ 89 h 1709"/>
                <a:gd name="T20" fmla="*/ 828 w 1086"/>
                <a:gd name="T21" fmla="*/ 39 h 1709"/>
                <a:gd name="T22" fmla="*/ 951 w 1086"/>
                <a:gd name="T23" fmla="*/ 39 h 1709"/>
                <a:gd name="T24" fmla="*/ 1050 w 1086"/>
                <a:gd name="T25" fmla="*/ 559 h 1709"/>
                <a:gd name="T26" fmla="*/ 919 w 1086"/>
                <a:gd name="T27" fmla="*/ 63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6" h="1709">
                  <a:moveTo>
                    <a:pt x="919" y="639"/>
                  </a:moveTo>
                  <a:cubicBezTo>
                    <a:pt x="876" y="379"/>
                    <a:pt x="757" y="193"/>
                    <a:pt x="616" y="193"/>
                  </a:cubicBezTo>
                  <a:cubicBezTo>
                    <a:pt x="439" y="193"/>
                    <a:pt x="296" y="489"/>
                    <a:pt x="296" y="854"/>
                  </a:cubicBezTo>
                  <a:cubicBezTo>
                    <a:pt x="296" y="1219"/>
                    <a:pt x="439" y="1515"/>
                    <a:pt x="616" y="1515"/>
                  </a:cubicBezTo>
                  <a:cubicBezTo>
                    <a:pt x="744" y="1515"/>
                    <a:pt x="883" y="1358"/>
                    <a:pt x="941" y="1132"/>
                  </a:cubicBezTo>
                  <a:cubicBezTo>
                    <a:pt x="1086" y="1247"/>
                    <a:pt x="1086" y="1247"/>
                    <a:pt x="1086" y="1247"/>
                  </a:cubicBezTo>
                  <a:cubicBezTo>
                    <a:pt x="990" y="1521"/>
                    <a:pt x="862" y="1709"/>
                    <a:pt x="575" y="1709"/>
                  </a:cubicBezTo>
                  <a:cubicBezTo>
                    <a:pt x="258" y="1709"/>
                    <a:pt x="0" y="1326"/>
                    <a:pt x="0" y="854"/>
                  </a:cubicBezTo>
                  <a:cubicBezTo>
                    <a:pt x="0" y="383"/>
                    <a:pt x="258" y="0"/>
                    <a:pt x="575" y="0"/>
                  </a:cubicBezTo>
                  <a:cubicBezTo>
                    <a:pt x="653" y="0"/>
                    <a:pt x="740" y="35"/>
                    <a:pt x="806" y="89"/>
                  </a:cubicBezTo>
                  <a:cubicBezTo>
                    <a:pt x="828" y="39"/>
                    <a:pt x="828" y="39"/>
                    <a:pt x="828" y="39"/>
                  </a:cubicBezTo>
                  <a:cubicBezTo>
                    <a:pt x="951" y="39"/>
                    <a:pt x="951" y="39"/>
                    <a:pt x="951" y="39"/>
                  </a:cubicBezTo>
                  <a:cubicBezTo>
                    <a:pt x="1050" y="559"/>
                    <a:pt x="1050" y="559"/>
                    <a:pt x="1050" y="559"/>
                  </a:cubicBezTo>
                  <a:lnTo>
                    <a:pt x="919" y="63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5" name="Freeform 91"/>
            <p:cNvSpPr>
              <a:spLocks/>
            </p:cNvSpPr>
            <p:nvPr userDrawn="1"/>
          </p:nvSpPr>
          <p:spPr bwMode="auto">
            <a:xfrm>
              <a:off x="2974805" y="6099671"/>
              <a:ext cx="162521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7 w 995"/>
                <a:gd name="T7" fmla="*/ 125 h 1381"/>
                <a:gd name="T8" fmla="*/ 607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2 w 995"/>
                <a:gd name="T15" fmla="*/ 329 h 1381"/>
                <a:gd name="T16" fmla="*/ 882 w 995"/>
                <a:gd name="T17" fmla="*/ 1381 h 1381"/>
                <a:gd name="T18" fmla="*/ 669 w 995"/>
                <a:gd name="T19" fmla="*/ 1381 h 1381"/>
                <a:gd name="T20" fmla="*/ 274 w 995"/>
                <a:gd name="T21" fmla="*/ 384 h 1381"/>
                <a:gd name="T22" fmla="*/ 274 w 995"/>
                <a:gd name="T23" fmla="*/ 1065 h 1381"/>
                <a:gd name="T24" fmla="*/ 289 w 995"/>
                <a:gd name="T25" fmla="*/ 1215 h 1381"/>
                <a:gd name="T26" fmla="*/ 387 w 995"/>
                <a:gd name="T27" fmla="*/ 1267 h 1381"/>
                <a:gd name="T28" fmla="*/ 397 w 995"/>
                <a:gd name="T29" fmla="*/ 1267 h 1381"/>
                <a:gd name="T30" fmla="*/ 397 w 995"/>
                <a:gd name="T31" fmla="*/ 1381 h 1381"/>
                <a:gd name="T32" fmla="*/ 9 w 995"/>
                <a:gd name="T33" fmla="*/ 1381 h 1381"/>
                <a:gd name="T34" fmla="*/ 9 w 995"/>
                <a:gd name="T35" fmla="*/ 1267 h 1381"/>
                <a:gd name="T36" fmla="*/ 121 w 995"/>
                <a:gd name="T37" fmla="*/ 1063 h 1381"/>
                <a:gd name="T38" fmla="*/ 121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4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3" y="211"/>
                    <a:pt x="715" y="176"/>
                  </a:cubicBezTo>
                  <a:cubicBezTo>
                    <a:pt x="698" y="141"/>
                    <a:pt x="644" y="129"/>
                    <a:pt x="617" y="125"/>
                  </a:cubicBezTo>
                  <a:cubicBezTo>
                    <a:pt x="607" y="125"/>
                    <a:pt x="607" y="125"/>
                    <a:pt x="607" y="125"/>
                  </a:cubicBezTo>
                  <a:cubicBezTo>
                    <a:pt x="607" y="0"/>
                    <a:pt x="607" y="0"/>
                    <a:pt x="607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5" y="139"/>
                    <a:pt x="882" y="180"/>
                    <a:pt x="882" y="329"/>
                  </a:cubicBezTo>
                  <a:cubicBezTo>
                    <a:pt x="882" y="1381"/>
                    <a:pt x="882" y="1381"/>
                    <a:pt x="882" y="1381"/>
                  </a:cubicBezTo>
                  <a:cubicBezTo>
                    <a:pt x="669" y="1381"/>
                    <a:pt x="669" y="1381"/>
                    <a:pt x="669" y="1381"/>
                  </a:cubicBezTo>
                  <a:cubicBezTo>
                    <a:pt x="274" y="384"/>
                    <a:pt x="274" y="384"/>
                    <a:pt x="274" y="384"/>
                  </a:cubicBezTo>
                  <a:cubicBezTo>
                    <a:pt x="274" y="1065"/>
                    <a:pt x="274" y="1065"/>
                    <a:pt x="274" y="1065"/>
                  </a:cubicBezTo>
                  <a:cubicBezTo>
                    <a:pt x="274" y="1106"/>
                    <a:pt x="271" y="1180"/>
                    <a:pt x="289" y="1215"/>
                  </a:cubicBezTo>
                  <a:cubicBezTo>
                    <a:pt x="306" y="1250"/>
                    <a:pt x="360" y="1263"/>
                    <a:pt x="387" y="1267"/>
                  </a:cubicBezTo>
                  <a:cubicBezTo>
                    <a:pt x="397" y="1267"/>
                    <a:pt x="397" y="1267"/>
                    <a:pt x="397" y="1267"/>
                  </a:cubicBezTo>
                  <a:cubicBezTo>
                    <a:pt x="397" y="1381"/>
                    <a:pt x="397" y="1381"/>
                    <a:pt x="397" y="1381"/>
                  </a:cubicBezTo>
                  <a:cubicBezTo>
                    <a:pt x="9" y="1381"/>
                    <a:pt x="9" y="1381"/>
                    <a:pt x="9" y="1381"/>
                  </a:cubicBezTo>
                  <a:cubicBezTo>
                    <a:pt x="9" y="1267"/>
                    <a:pt x="9" y="1267"/>
                    <a:pt x="9" y="1267"/>
                  </a:cubicBezTo>
                  <a:cubicBezTo>
                    <a:pt x="119" y="1252"/>
                    <a:pt x="121" y="1211"/>
                    <a:pt x="121" y="1063"/>
                  </a:cubicBezTo>
                  <a:cubicBezTo>
                    <a:pt x="121" y="326"/>
                    <a:pt x="121" y="326"/>
                    <a:pt x="121" y="326"/>
                  </a:cubicBezTo>
                  <a:cubicBezTo>
                    <a:pt x="121" y="179"/>
                    <a:pt x="111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6" name="Freeform 92"/>
            <p:cNvSpPr>
              <a:spLocks/>
            </p:cNvSpPr>
            <p:nvPr userDrawn="1"/>
          </p:nvSpPr>
          <p:spPr bwMode="auto">
            <a:xfrm>
              <a:off x="5518545" y="6099671"/>
              <a:ext cx="162521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7 w 995"/>
                <a:gd name="T7" fmla="*/ 125 h 1381"/>
                <a:gd name="T8" fmla="*/ 607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2 w 995"/>
                <a:gd name="T15" fmla="*/ 329 h 1381"/>
                <a:gd name="T16" fmla="*/ 882 w 995"/>
                <a:gd name="T17" fmla="*/ 1381 h 1381"/>
                <a:gd name="T18" fmla="*/ 669 w 995"/>
                <a:gd name="T19" fmla="*/ 1381 h 1381"/>
                <a:gd name="T20" fmla="*/ 274 w 995"/>
                <a:gd name="T21" fmla="*/ 384 h 1381"/>
                <a:gd name="T22" fmla="*/ 274 w 995"/>
                <a:gd name="T23" fmla="*/ 1065 h 1381"/>
                <a:gd name="T24" fmla="*/ 289 w 995"/>
                <a:gd name="T25" fmla="*/ 1215 h 1381"/>
                <a:gd name="T26" fmla="*/ 387 w 995"/>
                <a:gd name="T27" fmla="*/ 1267 h 1381"/>
                <a:gd name="T28" fmla="*/ 398 w 995"/>
                <a:gd name="T29" fmla="*/ 1267 h 1381"/>
                <a:gd name="T30" fmla="*/ 398 w 995"/>
                <a:gd name="T31" fmla="*/ 1381 h 1381"/>
                <a:gd name="T32" fmla="*/ 9 w 995"/>
                <a:gd name="T33" fmla="*/ 1381 h 1381"/>
                <a:gd name="T34" fmla="*/ 9 w 995"/>
                <a:gd name="T35" fmla="*/ 1267 h 1381"/>
                <a:gd name="T36" fmla="*/ 122 w 995"/>
                <a:gd name="T37" fmla="*/ 1063 h 1381"/>
                <a:gd name="T38" fmla="*/ 122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4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3" y="211"/>
                    <a:pt x="715" y="176"/>
                  </a:cubicBezTo>
                  <a:cubicBezTo>
                    <a:pt x="698" y="141"/>
                    <a:pt x="644" y="129"/>
                    <a:pt x="617" y="125"/>
                  </a:cubicBezTo>
                  <a:cubicBezTo>
                    <a:pt x="607" y="125"/>
                    <a:pt x="607" y="125"/>
                    <a:pt x="607" y="125"/>
                  </a:cubicBezTo>
                  <a:cubicBezTo>
                    <a:pt x="607" y="0"/>
                    <a:pt x="607" y="0"/>
                    <a:pt x="607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6" y="139"/>
                    <a:pt x="882" y="180"/>
                    <a:pt x="882" y="329"/>
                  </a:cubicBezTo>
                  <a:cubicBezTo>
                    <a:pt x="882" y="1381"/>
                    <a:pt x="882" y="1381"/>
                    <a:pt x="882" y="1381"/>
                  </a:cubicBezTo>
                  <a:cubicBezTo>
                    <a:pt x="669" y="1381"/>
                    <a:pt x="669" y="1381"/>
                    <a:pt x="669" y="1381"/>
                  </a:cubicBezTo>
                  <a:cubicBezTo>
                    <a:pt x="274" y="384"/>
                    <a:pt x="274" y="384"/>
                    <a:pt x="274" y="384"/>
                  </a:cubicBezTo>
                  <a:cubicBezTo>
                    <a:pt x="274" y="1065"/>
                    <a:pt x="274" y="1065"/>
                    <a:pt x="274" y="1065"/>
                  </a:cubicBezTo>
                  <a:cubicBezTo>
                    <a:pt x="274" y="1106"/>
                    <a:pt x="272" y="1180"/>
                    <a:pt x="289" y="1215"/>
                  </a:cubicBezTo>
                  <a:cubicBezTo>
                    <a:pt x="306" y="1250"/>
                    <a:pt x="360" y="1263"/>
                    <a:pt x="387" y="1267"/>
                  </a:cubicBezTo>
                  <a:cubicBezTo>
                    <a:pt x="398" y="1267"/>
                    <a:pt x="398" y="1267"/>
                    <a:pt x="398" y="1267"/>
                  </a:cubicBezTo>
                  <a:cubicBezTo>
                    <a:pt x="398" y="1381"/>
                    <a:pt x="398" y="1381"/>
                    <a:pt x="398" y="1381"/>
                  </a:cubicBezTo>
                  <a:cubicBezTo>
                    <a:pt x="9" y="1381"/>
                    <a:pt x="9" y="1381"/>
                    <a:pt x="9" y="1381"/>
                  </a:cubicBezTo>
                  <a:cubicBezTo>
                    <a:pt x="9" y="1267"/>
                    <a:pt x="9" y="1267"/>
                    <a:pt x="9" y="1267"/>
                  </a:cubicBezTo>
                  <a:cubicBezTo>
                    <a:pt x="119" y="1252"/>
                    <a:pt x="122" y="1211"/>
                    <a:pt x="122" y="1063"/>
                  </a:cubicBezTo>
                  <a:cubicBezTo>
                    <a:pt x="122" y="326"/>
                    <a:pt x="122" y="326"/>
                    <a:pt x="122" y="326"/>
                  </a:cubicBezTo>
                  <a:cubicBezTo>
                    <a:pt x="122" y="179"/>
                    <a:pt x="112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7" name="Freeform 93"/>
            <p:cNvSpPr>
              <a:spLocks/>
            </p:cNvSpPr>
            <p:nvPr userDrawn="1"/>
          </p:nvSpPr>
          <p:spPr bwMode="auto">
            <a:xfrm>
              <a:off x="4848982" y="6099671"/>
              <a:ext cx="162378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6 w 995"/>
                <a:gd name="T7" fmla="*/ 125 h 1381"/>
                <a:gd name="T8" fmla="*/ 606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1 w 995"/>
                <a:gd name="T15" fmla="*/ 329 h 1381"/>
                <a:gd name="T16" fmla="*/ 881 w 995"/>
                <a:gd name="T17" fmla="*/ 1381 h 1381"/>
                <a:gd name="T18" fmla="*/ 668 w 995"/>
                <a:gd name="T19" fmla="*/ 1381 h 1381"/>
                <a:gd name="T20" fmla="*/ 273 w 995"/>
                <a:gd name="T21" fmla="*/ 384 h 1381"/>
                <a:gd name="T22" fmla="*/ 273 w 995"/>
                <a:gd name="T23" fmla="*/ 1065 h 1381"/>
                <a:gd name="T24" fmla="*/ 288 w 995"/>
                <a:gd name="T25" fmla="*/ 1215 h 1381"/>
                <a:gd name="T26" fmla="*/ 386 w 995"/>
                <a:gd name="T27" fmla="*/ 1267 h 1381"/>
                <a:gd name="T28" fmla="*/ 397 w 995"/>
                <a:gd name="T29" fmla="*/ 1267 h 1381"/>
                <a:gd name="T30" fmla="*/ 397 w 995"/>
                <a:gd name="T31" fmla="*/ 1381 h 1381"/>
                <a:gd name="T32" fmla="*/ 8 w 995"/>
                <a:gd name="T33" fmla="*/ 1381 h 1381"/>
                <a:gd name="T34" fmla="*/ 8 w 995"/>
                <a:gd name="T35" fmla="*/ 1267 h 1381"/>
                <a:gd name="T36" fmla="*/ 121 w 995"/>
                <a:gd name="T37" fmla="*/ 1063 h 1381"/>
                <a:gd name="T38" fmla="*/ 121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3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2" y="211"/>
                    <a:pt x="715" y="176"/>
                  </a:cubicBezTo>
                  <a:cubicBezTo>
                    <a:pt x="697" y="141"/>
                    <a:pt x="643" y="129"/>
                    <a:pt x="617" y="125"/>
                  </a:cubicBezTo>
                  <a:cubicBezTo>
                    <a:pt x="606" y="125"/>
                    <a:pt x="606" y="125"/>
                    <a:pt x="606" y="125"/>
                  </a:cubicBezTo>
                  <a:cubicBezTo>
                    <a:pt x="606" y="0"/>
                    <a:pt x="606" y="0"/>
                    <a:pt x="606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5" y="139"/>
                    <a:pt x="881" y="180"/>
                    <a:pt x="881" y="329"/>
                  </a:cubicBezTo>
                  <a:cubicBezTo>
                    <a:pt x="881" y="1381"/>
                    <a:pt x="881" y="1381"/>
                    <a:pt x="881" y="1381"/>
                  </a:cubicBezTo>
                  <a:cubicBezTo>
                    <a:pt x="668" y="1381"/>
                    <a:pt x="668" y="1381"/>
                    <a:pt x="668" y="1381"/>
                  </a:cubicBezTo>
                  <a:cubicBezTo>
                    <a:pt x="273" y="384"/>
                    <a:pt x="273" y="384"/>
                    <a:pt x="273" y="384"/>
                  </a:cubicBezTo>
                  <a:cubicBezTo>
                    <a:pt x="273" y="1065"/>
                    <a:pt x="273" y="1065"/>
                    <a:pt x="273" y="1065"/>
                  </a:cubicBezTo>
                  <a:cubicBezTo>
                    <a:pt x="273" y="1106"/>
                    <a:pt x="271" y="1180"/>
                    <a:pt x="288" y="1215"/>
                  </a:cubicBezTo>
                  <a:cubicBezTo>
                    <a:pt x="306" y="1250"/>
                    <a:pt x="359" y="1263"/>
                    <a:pt x="386" y="1267"/>
                  </a:cubicBezTo>
                  <a:cubicBezTo>
                    <a:pt x="397" y="1267"/>
                    <a:pt x="397" y="1267"/>
                    <a:pt x="397" y="1267"/>
                  </a:cubicBezTo>
                  <a:cubicBezTo>
                    <a:pt x="397" y="1381"/>
                    <a:pt x="397" y="1381"/>
                    <a:pt x="397" y="1381"/>
                  </a:cubicBezTo>
                  <a:cubicBezTo>
                    <a:pt x="8" y="1381"/>
                    <a:pt x="8" y="1381"/>
                    <a:pt x="8" y="1381"/>
                  </a:cubicBezTo>
                  <a:cubicBezTo>
                    <a:pt x="8" y="1267"/>
                    <a:pt x="8" y="1267"/>
                    <a:pt x="8" y="1267"/>
                  </a:cubicBezTo>
                  <a:cubicBezTo>
                    <a:pt x="118" y="1252"/>
                    <a:pt x="121" y="1211"/>
                    <a:pt x="121" y="1063"/>
                  </a:cubicBezTo>
                  <a:cubicBezTo>
                    <a:pt x="121" y="326"/>
                    <a:pt x="121" y="326"/>
                    <a:pt x="121" y="326"/>
                  </a:cubicBezTo>
                  <a:cubicBezTo>
                    <a:pt x="121" y="179"/>
                    <a:pt x="111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3" y="0"/>
                    <a:pt x="423" y="0"/>
                    <a:pt x="423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8" name="Freeform 94"/>
            <p:cNvSpPr>
              <a:spLocks/>
            </p:cNvSpPr>
            <p:nvPr userDrawn="1"/>
          </p:nvSpPr>
          <p:spPr bwMode="auto">
            <a:xfrm>
              <a:off x="6259770" y="6099671"/>
              <a:ext cx="162521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7 w 995"/>
                <a:gd name="T7" fmla="*/ 125 h 1381"/>
                <a:gd name="T8" fmla="*/ 607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2 w 995"/>
                <a:gd name="T15" fmla="*/ 329 h 1381"/>
                <a:gd name="T16" fmla="*/ 882 w 995"/>
                <a:gd name="T17" fmla="*/ 1381 h 1381"/>
                <a:gd name="T18" fmla="*/ 669 w 995"/>
                <a:gd name="T19" fmla="*/ 1381 h 1381"/>
                <a:gd name="T20" fmla="*/ 274 w 995"/>
                <a:gd name="T21" fmla="*/ 384 h 1381"/>
                <a:gd name="T22" fmla="*/ 274 w 995"/>
                <a:gd name="T23" fmla="*/ 1065 h 1381"/>
                <a:gd name="T24" fmla="*/ 289 w 995"/>
                <a:gd name="T25" fmla="*/ 1215 h 1381"/>
                <a:gd name="T26" fmla="*/ 387 w 995"/>
                <a:gd name="T27" fmla="*/ 1267 h 1381"/>
                <a:gd name="T28" fmla="*/ 398 w 995"/>
                <a:gd name="T29" fmla="*/ 1267 h 1381"/>
                <a:gd name="T30" fmla="*/ 398 w 995"/>
                <a:gd name="T31" fmla="*/ 1381 h 1381"/>
                <a:gd name="T32" fmla="*/ 9 w 995"/>
                <a:gd name="T33" fmla="*/ 1381 h 1381"/>
                <a:gd name="T34" fmla="*/ 9 w 995"/>
                <a:gd name="T35" fmla="*/ 1267 h 1381"/>
                <a:gd name="T36" fmla="*/ 121 w 995"/>
                <a:gd name="T37" fmla="*/ 1063 h 1381"/>
                <a:gd name="T38" fmla="*/ 121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4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3" y="211"/>
                    <a:pt x="715" y="176"/>
                  </a:cubicBezTo>
                  <a:cubicBezTo>
                    <a:pt x="698" y="141"/>
                    <a:pt x="644" y="129"/>
                    <a:pt x="617" y="125"/>
                  </a:cubicBezTo>
                  <a:cubicBezTo>
                    <a:pt x="607" y="125"/>
                    <a:pt x="607" y="125"/>
                    <a:pt x="607" y="125"/>
                  </a:cubicBezTo>
                  <a:cubicBezTo>
                    <a:pt x="607" y="0"/>
                    <a:pt x="607" y="0"/>
                    <a:pt x="607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6" y="139"/>
                    <a:pt x="882" y="180"/>
                    <a:pt x="882" y="329"/>
                  </a:cubicBezTo>
                  <a:cubicBezTo>
                    <a:pt x="882" y="1381"/>
                    <a:pt x="882" y="1381"/>
                    <a:pt x="882" y="1381"/>
                  </a:cubicBezTo>
                  <a:cubicBezTo>
                    <a:pt x="669" y="1381"/>
                    <a:pt x="669" y="1381"/>
                    <a:pt x="669" y="1381"/>
                  </a:cubicBezTo>
                  <a:cubicBezTo>
                    <a:pt x="274" y="384"/>
                    <a:pt x="274" y="384"/>
                    <a:pt x="274" y="384"/>
                  </a:cubicBezTo>
                  <a:cubicBezTo>
                    <a:pt x="274" y="1065"/>
                    <a:pt x="274" y="1065"/>
                    <a:pt x="274" y="1065"/>
                  </a:cubicBezTo>
                  <a:cubicBezTo>
                    <a:pt x="274" y="1106"/>
                    <a:pt x="271" y="1180"/>
                    <a:pt x="289" y="1215"/>
                  </a:cubicBezTo>
                  <a:cubicBezTo>
                    <a:pt x="306" y="1250"/>
                    <a:pt x="360" y="1263"/>
                    <a:pt x="387" y="1267"/>
                  </a:cubicBezTo>
                  <a:cubicBezTo>
                    <a:pt x="398" y="1267"/>
                    <a:pt x="398" y="1267"/>
                    <a:pt x="398" y="1267"/>
                  </a:cubicBezTo>
                  <a:cubicBezTo>
                    <a:pt x="398" y="1381"/>
                    <a:pt x="398" y="1381"/>
                    <a:pt x="398" y="1381"/>
                  </a:cubicBezTo>
                  <a:cubicBezTo>
                    <a:pt x="9" y="1381"/>
                    <a:pt x="9" y="1381"/>
                    <a:pt x="9" y="1381"/>
                  </a:cubicBezTo>
                  <a:cubicBezTo>
                    <a:pt x="9" y="1267"/>
                    <a:pt x="9" y="1267"/>
                    <a:pt x="9" y="1267"/>
                  </a:cubicBezTo>
                  <a:cubicBezTo>
                    <a:pt x="119" y="1252"/>
                    <a:pt x="121" y="1211"/>
                    <a:pt x="121" y="1063"/>
                  </a:cubicBezTo>
                  <a:cubicBezTo>
                    <a:pt x="121" y="326"/>
                    <a:pt x="121" y="326"/>
                    <a:pt x="121" y="326"/>
                  </a:cubicBezTo>
                  <a:cubicBezTo>
                    <a:pt x="121" y="179"/>
                    <a:pt x="112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9" name="Rectangle 95"/>
            <p:cNvSpPr>
              <a:spLocks noChangeArrowheads="1"/>
            </p:cNvSpPr>
            <p:nvPr userDrawn="1"/>
          </p:nvSpPr>
          <p:spPr bwMode="auto">
            <a:xfrm>
              <a:off x="2348752" y="6346224"/>
              <a:ext cx="4446497" cy="18769"/>
            </a:xfrm>
            <a:prstGeom prst="rect">
              <a:avLst/>
            </a:prstGeom>
            <a:solidFill>
              <a:srgbClr val="D70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0" name="Freeform 96"/>
            <p:cNvSpPr>
              <a:spLocks/>
            </p:cNvSpPr>
            <p:nvPr userDrawn="1"/>
          </p:nvSpPr>
          <p:spPr bwMode="auto">
            <a:xfrm>
              <a:off x="5181702" y="6101235"/>
              <a:ext cx="149724" cy="225225"/>
            </a:xfrm>
            <a:custGeom>
              <a:avLst/>
              <a:gdLst>
                <a:gd name="T0" fmla="*/ 357 w 917"/>
                <a:gd name="T1" fmla="*/ 706 h 1378"/>
                <a:gd name="T2" fmla="*/ 357 w 917"/>
                <a:gd name="T3" fmla="*/ 1139 h 1378"/>
                <a:gd name="T4" fmla="*/ 474 w 917"/>
                <a:gd name="T5" fmla="*/ 1232 h 1378"/>
                <a:gd name="T6" fmla="*/ 483 w 917"/>
                <a:gd name="T7" fmla="*/ 1232 h 1378"/>
                <a:gd name="T8" fmla="*/ 813 w 917"/>
                <a:gd name="T9" fmla="*/ 851 h 1378"/>
                <a:gd name="T10" fmla="*/ 917 w 917"/>
                <a:gd name="T11" fmla="*/ 911 h 1378"/>
                <a:gd name="T12" fmla="*/ 798 w 917"/>
                <a:gd name="T13" fmla="*/ 1378 h 1378"/>
                <a:gd name="T14" fmla="*/ 0 w 917"/>
                <a:gd name="T15" fmla="*/ 1378 h 1378"/>
                <a:gd name="T16" fmla="*/ 0 w 917"/>
                <a:gd name="T17" fmla="*/ 1265 h 1378"/>
                <a:gd name="T18" fmla="*/ 114 w 917"/>
                <a:gd name="T19" fmla="*/ 1150 h 1378"/>
                <a:gd name="T20" fmla="*/ 114 w 917"/>
                <a:gd name="T21" fmla="*/ 227 h 1378"/>
                <a:gd name="T22" fmla="*/ 0 w 917"/>
                <a:gd name="T23" fmla="*/ 113 h 1378"/>
                <a:gd name="T24" fmla="*/ 0 w 917"/>
                <a:gd name="T25" fmla="*/ 0 h 1378"/>
                <a:gd name="T26" fmla="*/ 765 w 917"/>
                <a:gd name="T27" fmla="*/ 0 h 1378"/>
                <a:gd name="T28" fmla="*/ 886 w 917"/>
                <a:gd name="T29" fmla="*/ 387 h 1378"/>
                <a:gd name="T30" fmla="*/ 782 w 917"/>
                <a:gd name="T31" fmla="*/ 450 h 1378"/>
                <a:gd name="T32" fmla="*/ 474 w 917"/>
                <a:gd name="T33" fmla="*/ 145 h 1378"/>
                <a:gd name="T34" fmla="*/ 357 w 917"/>
                <a:gd name="T35" fmla="*/ 239 h 1378"/>
                <a:gd name="T36" fmla="*/ 357 w 917"/>
                <a:gd name="T37" fmla="*/ 548 h 1378"/>
                <a:gd name="T38" fmla="*/ 381 w 917"/>
                <a:gd name="T39" fmla="*/ 548 h 1378"/>
                <a:gd name="T40" fmla="*/ 471 w 917"/>
                <a:gd name="T41" fmla="*/ 508 h 1378"/>
                <a:gd name="T42" fmla="*/ 495 w 917"/>
                <a:gd name="T43" fmla="*/ 315 h 1378"/>
                <a:gd name="T44" fmla="*/ 641 w 917"/>
                <a:gd name="T45" fmla="*/ 315 h 1378"/>
                <a:gd name="T46" fmla="*/ 641 w 917"/>
                <a:gd name="T47" fmla="*/ 959 h 1378"/>
                <a:gd name="T48" fmla="*/ 495 w 917"/>
                <a:gd name="T49" fmla="*/ 959 h 1378"/>
                <a:gd name="T50" fmla="*/ 472 w 917"/>
                <a:gd name="T51" fmla="*/ 774 h 1378"/>
                <a:gd name="T52" fmla="*/ 365 w 917"/>
                <a:gd name="T53" fmla="*/ 706 h 1378"/>
                <a:gd name="T54" fmla="*/ 357 w 917"/>
                <a:gd name="T55" fmla="*/ 706 h 1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17" h="1378">
                  <a:moveTo>
                    <a:pt x="357" y="706"/>
                  </a:moveTo>
                  <a:cubicBezTo>
                    <a:pt x="357" y="1139"/>
                    <a:pt x="357" y="1139"/>
                    <a:pt x="357" y="1139"/>
                  </a:cubicBezTo>
                  <a:cubicBezTo>
                    <a:pt x="357" y="1202"/>
                    <a:pt x="411" y="1232"/>
                    <a:pt x="474" y="1232"/>
                  </a:cubicBezTo>
                  <a:cubicBezTo>
                    <a:pt x="483" y="1232"/>
                    <a:pt x="483" y="1232"/>
                    <a:pt x="483" y="1232"/>
                  </a:cubicBezTo>
                  <a:cubicBezTo>
                    <a:pt x="654" y="1232"/>
                    <a:pt x="719" y="1078"/>
                    <a:pt x="813" y="851"/>
                  </a:cubicBezTo>
                  <a:cubicBezTo>
                    <a:pt x="917" y="911"/>
                    <a:pt x="917" y="911"/>
                    <a:pt x="917" y="911"/>
                  </a:cubicBezTo>
                  <a:cubicBezTo>
                    <a:pt x="798" y="1378"/>
                    <a:pt x="798" y="1378"/>
                    <a:pt x="798" y="1378"/>
                  </a:cubicBezTo>
                  <a:cubicBezTo>
                    <a:pt x="0" y="1378"/>
                    <a:pt x="0" y="1378"/>
                    <a:pt x="0" y="1378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63" y="1265"/>
                    <a:pt x="114" y="1214"/>
                    <a:pt x="114" y="1150"/>
                  </a:cubicBezTo>
                  <a:cubicBezTo>
                    <a:pt x="114" y="227"/>
                    <a:pt x="114" y="227"/>
                    <a:pt x="114" y="227"/>
                  </a:cubicBezTo>
                  <a:cubicBezTo>
                    <a:pt x="114" y="164"/>
                    <a:pt x="63" y="113"/>
                    <a:pt x="0" y="1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65" y="0"/>
                    <a:pt x="765" y="0"/>
                    <a:pt x="765" y="0"/>
                  </a:cubicBezTo>
                  <a:cubicBezTo>
                    <a:pt x="886" y="387"/>
                    <a:pt x="886" y="387"/>
                    <a:pt x="886" y="387"/>
                  </a:cubicBezTo>
                  <a:cubicBezTo>
                    <a:pt x="782" y="450"/>
                    <a:pt x="782" y="450"/>
                    <a:pt x="782" y="450"/>
                  </a:cubicBezTo>
                  <a:cubicBezTo>
                    <a:pt x="709" y="269"/>
                    <a:pt x="610" y="145"/>
                    <a:pt x="474" y="145"/>
                  </a:cubicBezTo>
                  <a:cubicBezTo>
                    <a:pt x="411" y="145"/>
                    <a:pt x="357" y="176"/>
                    <a:pt x="357" y="239"/>
                  </a:cubicBezTo>
                  <a:cubicBezTo>
                    <a:pt x="357" y="548"/>
                    <a:pt x="357" y="548"/>
                    <a:pt x="357" y="548"/>
                  </a:cubicBezTo>
                  <a:cubicBezTo>
                    <a:pt x="381" y="548"/>
                    <a:pt x="381" y="548"/>
                    <a:pt x="381" y="548"/>
                  </a:cubicBezTo>
                  <a:cubicBezTo>
                    <a:pt x="414" y="548"/>
                    <a:pt x="447" y="556"/>
                    <a:pt x="471" y="508"/>
                  </a:cubicBezTo>
                  <a:cubicBezTo>
                    <a:pt x="490" y="467"/>
                    <a:pt x="495" y="365"/>
                    <a:pt x="495" y="315"/>
                  </a:cubicBezTo>
                  <a:cubicBezTo>
                    <a:pt x="641" y="315"/>
                    <a:pt x="641" y="315"/>
                    <a:pt x="641" y="315"/>
                  </a:cubicBezTo>
                  <a:cubicBezTo>
                    <a:pt x="641" y="959"/>
                    <a:pt x="641" y="959"/>
                    <a:pt x="641" y="959"/>
                  </a:cubicBezTo>
                  <a:cubicBezTo>
                    <a:pt x="495" y="959"/>
                    <a:pt x="495" y="959"/>
                    <a:pt x="495" y="959"/>
                  </a:cubicBezTo>
                  <a:cubicBezTo>
                    <a:pt x="490" y="905"/>
                    <a:pt x="494" y="820"/>
                    <a:pt x="472" y="774"/>
                  </a:cubicBezTo>
                  <a:cubicBezTo>
                    <a:pt x="447" y="722"/>
                    <a:pt x="400" y="706"/>
                    <a:pt x="365" y="706"/>
                  </a:cubicBezTo>
                  <a:lnTo>
                    <a:pt x="357" y="70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1" name="Freeform 97"/>
            <p:cNvSpPr>
              <a:spLocks/>
            </p:cNvSpPr>
            <p:nvPr userDrawn="1"/>
          </p:nvSpPr>
          <p:spPr bwMode="auto">
            <a:xfrm>
              <a:off x="6613960" y="6098818"/>
              <a:ext cx="147022" cy="225652"/>
            </a:xfrm>
            <a:custGeom>
              <a:avLst/>
              <a:gdLst>
                <a:gd name="T0" fmla="*/ 362 w 900"/>
                <a:gd name="T1" fmla="*/ 228 h 1381"/>
                <a:gd name="T2" fmla="*/ 478 w 900"/>
                <a:gd name="T3" fmla="*/ 112 h 1381"/>
                <a:gd name="T4" fmla="*/ 478 w 900"/>
                <a:gd name="T5" fmla="*/ 0 h 1381"/>
                <a:gd name="T6" fmla="*/ 0 w 900"/>
                <a:gd name="T7" fmla="*/ 0 h 1381"/>
                <a:gd name="T8" fmla="*/ 0 w 900"/>
                <a:gd name="T9" fmla="*/ 112 h 1381"/>
                <a:gd name="T10" fmla="*/ 116 w 900"/>
                <a:gd name="T11" fmla="*/ 228 h 1381"/>
                <a:gd name="T12" fmla="*/ 116 w 900"/>
                <a:gd name="T13" fmla="*/ 1150 h 1381"/>
                <a:gd name="T14" fmla="*/ 0 w 900"/>
                <a:gd name="T15" fmla="*/ 1266 h 1381"/>
                <a:gd name="T16" fmla="*/ 0 w 900"/>
                <a:gd name="T17" fmla="*/ 1381 h 1381"/>
                <a:gd name="T18" fmla="*/ 776 w 900"/>
                <a:gd name="T19" fmla="*/ 1381 h 1381"/>
                <a:gd name="T20" fmla="*/ 900 w 900"/>
                <a:gd name="T21" fmla="*/ 989 h 1381"/>
                <a:gd name="T22" fmla="*/ 794 w 900"/>
                <a:gd name="T23" fmla="*/ 925 h 1381"/>
                <a:gd name="T24" fmla="*/ 481 w 900"/>
                <a:gd name="T25" fmla="*/ 1234 h 1381"/>
                <a:gd name="T26" fmla="*/ 362 w 900"/>
                <a:gd name="T27" fmla="*/ 1139 h 1381"/>
                <a:gd name="T28" fmla="*/ 362 w 900"/>
                <a:gd name="T29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0" h="1381">
                  <a:moveTo>
                    <a:pt x="362" y="228"/>
                  </a:moveTo>
                  <a:cubicBezTo>
                    <a:pt x="362" y="164"/>
                    <a:pt x="414" y="112"/>
                    <a:pt x="478" y="112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64" y="112"/>
                    <a:pt x="116" y="164"/>
                    <a:pt x="116" y="228"/>
                  </a:cubicBezTo>
                  <a:cubicBezTo>
                    <a:pt x="116" y="1150"/>
                    <a:pt x="116" y="1150"/>
                    <a:pt x="116" y="1150"/>
                  </a:cubicBezTo>
                  <a:cubicBezTo>
                    <a:pt x="116" y="1214"/>
                    <a:pt x="64" y="1266"/>
                    <a:pt x="0" y="1266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776" y="1381"/>
                    <a:pt x="776" y="1381"/>
                    <a:pt x="776" y="1381"/>
                  </a:cubicBezTo>
                  <a:cubicBezTo>
                    <a:pt x="900" y="989"/>
                    <a:pt x="900" y="989"/>
                    <a:pt x="900" y="989"/>
                  </a:cubicBezTo>
                  <a:cubicBezTo>
                    <a:pt x="794" y="925"/>
                    <a:pt x="794" y="925"/>
                    <a:pt x="794" y="925"/>
                  </a:cubicBezTo>
                  <a:cubicBezTo>
                    <a:pt x="720" y="1108"/>
                    <a:pt x="619" y="1234"/>
                    <a:pt x="481" y="1234"/>
                  </a:cubicBezTo>
                  <a:cubicBezTo>
                    <a:pt x="417" y="1234"/>
                    <a:pt x="362" y="1203"/>
                    <a:pt x="362" y="1139"/>
                  </a:cubicBezTo>
                  <a:lnTo>
                    <a:pt x="362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pic>
        <p:nvPicPr>
          <p:cNvPr id="62" name="Picture 36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350" y="5889253"/>
            <a:ext cx="1908000" cy="45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hteck 3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3000" b="0" i="0" baseline="0" dirty="0" err="1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019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2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02818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9603" y="3593207"/>
            <a:ext cx="8935969" cy="923330"/>
          </a:xfrm>
        </p:spPr>
        <p:txBody>
          <a:bodyPr anchor="ctr"/>
          <a:lstStyle>
            <a:lvl1pPr algn="ctr">
              <a:defRPr sz="3000" b="0" cap="none" baseline="0">
                <a:solidFill>
                  <a:schemeClr val="accent5"/>
                </a:solidFill>
              </a:defRPr>
            </a:lvl1pPr>
          </a:lstStyle>
          <a:p>
            <a:r>
              <a:rPr lang="de-AT" dirty="0"/>
              <a:t>Zwischenseite 2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cxnSp>
        <p:nvCxnSpPr>
          <p:cNvPr id="8" name="Gerade Verbindung 18">
            <a:extLst>
              <a:ext uri="{FF2B5EF4-FFF2-40B4-BE49-F238E27FC236}">
                <a16:creationId xmlns:a16="http://schemas.microsoft.com/office/drawing/2014/main" id="{CB524A15-880A-49A5-8F56-49C7A0E2207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410258" y="3306573"/>
            <a:ext cx="11374659" cy="0"/>
          </a:xfrm>
          <a:prstGeom prst="line">
            <a:avLst/>
          </a:prstGeom>
          <a:noFill/>
          <a:ln w="19050" cap="rnd">
            <a:gradFill flip="none" rotWithShape="1">
              <a:gsLst>
                <a:gs pos="5000">
                  <a:schemeClr val="bg2">
                    <a:alpha val="0"/>
                  </a:schemeClr>
                </a:gs>
                <a:gs pos="50000">
                  <a:schemeClr val="bg2"/>
                </a:gs>
                <a:gs pos="95000">
                  <a:schemeClr val="bg2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 Verbindung 18">
            <a:extLst>
              <a:ext uri="{FF2B5EF4-FFF2-40B4-BE49-F238E27FC236}">
                <a16:creationId xmlns:a16="http://schemas.microsoft.com/office/drawing/2014/main" id="{14C588F4-2336-4CC8-899A-FE4E86B6EBD8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2085829" y="4859601"/>
            <a:ext cx="8023517" cy="0"/>
          </a:xfrm>
          <a:prstGeom prst="line">
            <a:avLst/>
          </a:prstGeom>
          <a:noFill/>
          <a:ln w="19050" cap="rnd">
            <a:gradFill flip="none" rotWithShape="1">
              <a:gsLst>
                <a:gs pos="5000">
                  <a:schemeClr val="bg2">
                    <a:alpha val="0"/>
                  </a:schemeClr>
                </a:gs>
                <a:gs pos="50000">
                  <a:schemeClr val="bg2"/>
                </a:gs>
                <a:gs pos="95000">
                  <a:schemeClr val="bg2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Freeform 92">
            <a:extLst>
              <a:ext uri="{FF2B5EF4-FFF2-40B4-BE49-F238E27FC236}">
                <a16:creationId xmlns:a16="http://schemas.microsoft.com/office/drawing/2014/main" id="{726B6BE3-D2DD-4BD8-AC7D-DEDC65766433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5531896" y="1107091"/>
            <a:ext cx="1131383" cy="1887196"/>
          </a:xfrm>
          <a:custGeom>
            <a:avLst/>
            <a:gdLst>
              <a:gd name="T0" fmla="*/ 173 w 307"/>
              <a:gd name="T1" fmla="*/ 447 h 512"/>
              <a:gd name="T2" fmla="*/ 307 w 307"/>
              <a:gd name="T3" fmla="*/ 153 h 512"/>
              <a:gd name="T4" fmla="*/ 153 w 307"/>
              <a:gd name="T5" fmla="*/ 0 h 512"/>
              <a:gd name="T6" fmla="*/ 0 w 307"/>
              <a:gd name="T7" fmla="*/ 153 h 512"/>
              <a:gd name="T8" fmla="*/ 134 w 307"/>
              <a:gd name="T9" fmla="*/ 447 h 512"/>
              <a:gd name="T10" fmla="*/ 32 w 307"/>
              <a:gd name="T11" fmla="*/ 480 h 512"/>
              <a:gd name="T12" fmla="*/ 153 w 307"/>
              <a:gd name="T13" fmla="*/ 512 h 512"/>
              <a:gd name="T14" fmla="*/ 275 w 307"/>
              <a:gd name="T15" fmla="*/ 480 h 512"/>
              <a:gd name="T16" fmla="*/ 173 w 307"/>
              <a:gd name="T17" fmla="*/ 447 h 512"/>
              <a:gd name="T18" fmla="*/ 56 w 307"/>
              <a:gd name="T19" fmla="*/ 154 h 512"/>
              <a:gd name="T20" fmla="*/ 153 w 307"/>
              <a:gd name="T21" fmla="*/ 56 h 512"/>
              <a:gd name="T22" fmla="*/ 251 w 307"/>
              <a:gd name="T23" fmla="*/ 154 h 512"/>
              <a:gd name="T24" fmla="*/ 153 w 307"/>
              <a:gd name="T25" fmla="*/ 251 h 512"/>
              <a:gd name="T26" fmla="*/ 56 w 307"/>
              <a:gd name="T27" fmla="*/ 15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7" h="512">
                <a:moveTo>
                  <a:pt x="173" y="447"/>
                </a:moveTo>
                <a:cubicBezTo>
                  <a:pt x="215" y="379"/>
                  <a:pt x="307" y="218"/>
                  <a:pt x="307" y="153"/>
                </a:cubicBezTo>
                <a:cubicBezTo>
                  <a:pt x="307" y="68"/>
                  <a:pt x="238" y="0"/>
                  <a:pt x="153" y="0"/>
                </a:cubicBezTo>
                <a:cubicBezTo>
                  <a:pt x="69" y="0"/>
                  <a:pt x="0" y="68"/>
                  <a:pt x="0" y="153"/>
                </a:cubicBezTo>
                <a:cubicBezTo>
                  <a:pt x="0" y="218"/>
                  <a:pt x="92" y="379"/>
                  <a:pt x="134" y="447"/>
                </a:cubicBezTo>
                <a:cubicBezTo>
                  <a:pt x="76" y="450"/>
                  <a:pt x="32" y="463"/>
                  <a:pt x="32" y="480"/>
                </a:cubicBezTo>
                <a:cubicBezTo>
                  <a:pt x="32" y="498"/>
                  <a:pt x="87" y="512"/>
                  <a:pt x="153" y="512"/>
                </a:cubicBezTo>
                <a:cubicBezTo>
                  <a:pt x="220" y="512"/>
                  <a:pt x="275" y="498"/>
                  <a:pt x="275" y="480"/>
                </a:cubicBezTo>
                <a:cubicBezTo>
                  <a:pt x="275" y="463"/>
                  <a:pt x="231" y="450"/>
                  <a:pt x="173" y="447"/>
                </a:cubicBezTo>
                <a:close/>
                <a:moveTo>
                  <a:pt x="56" y="154"/>
                </a:moveTo>
                <a:cubicBezTo>
                  <a:pt x="56" y="100"/>
                  <a:pt x="99" y="56"/>
                  <a:pt x="153" y="56"/>
                </a:cubicBezTo>
                <a:cubicBezTo>
                  <a:pt x="207" y="56"/>
                  <a:pt x="251" y="100"/>
                  <a:pt x="251" y="154"/>
                </a:cubicBezTo>
                <a:cubicBezTo>
                  <a:pt x="251" y="208"/>
                  <a:pt x="207" y="251"/>
                  <a:pt x="153" y="251"/>
                </a:cubicBezTo>
                <a:cubicBezTo>
                  <a:pt x="99" y="251"/>
                  <a:pt x="56" y="208"/>
                  <a:pt x="56" y="1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372" tIns="45686" rIns="91372" bIns="4568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88482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 + ÖLG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415939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2000" b="1" i="0" baseline="0" dirty="0" err="1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Agenda CASAG + ÖLG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  <p:sp>
        <p:nvSpPr>
          <p:cNvPr id="36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891027" y="9261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</a:t>
            </a:r>
          </a:p>
        </p:txBody>
      </p:sp>
      <p:sp>
        <p:nvSpPr>
          <p:cNvPr id="37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34520" y="9261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891027" y="14810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2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34520" y="14810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1027" y="20360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3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520" y="20360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1027" y="25909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4</a:t>
            </a:r>
          </a:p>
        </p:txBody>
      </p:sp>
      <p:sp>
        <p:nvSpPr>
          <p:cNvPr id="49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520" y="25909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891027" y="314590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5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520" y="314590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91027" y="37008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6</a:t>
            </a:r>
          </a:p>
        </p:txBody>
      </p:sp>
      <p:sp>
        <p:nvSpPr>
          <p:cNvPr id="53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334520" y="37008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54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891027" y="42557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7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334520" y="42557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891027" y="48107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8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334520" y="48107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891027" y="53656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9</a:t>
            </a:r>
          </a:p>
        </p:txBody>
      </p:sp>
      <p:sp>
        <p:nvSpPr>
          <p:cNvPr id="59" name="Textplatzhalt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334520" y="53656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60" name="Textplatzhalt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891027" y="5920599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0</a:t>
            </a:r>
          </a:p>
        </p:txBody>
      </p:sp>
      <p:sp>
        <p:nvSpPr>
          <p:cNvPr id="61" name="Textplatzhalter 17"/>
          <p:cNvSpPr>
            <a:spLocks noGrp="1"/>
          </p:cNvSpPr>
          <p:nvPr>
            <p:ph type="body" sz="quarter" idx="33" hasCustomPrompt="1"/>
          </p:nvPr>
        </p:nvSpPr>
        <p:spPr>
          <a:xfrm>
            <a:off x="334520" y="5920599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2623327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 + ÖL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36491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706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SAG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56102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37A4DAE-EA35-4DED-BDE3-1C6F4FD802F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81298" y="5869165"/>
            <a:ext cx="2032578" cy="495828"/>
            <a:chOff x="2469356" y="3962187"/>
            <a:chExt cx="7253107" cy="1769326"/>
          </a:xfrm>
        </p:grpSpPr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C83265E7-D411-4032-829C-A3E9BFAC03EE}"/>
                </a:ext>
              </a:extLst>
            </p:cNvPr>
            <p:cNvSpPr/>
            <p:nvPr/>
          </p:nvSpPr>
          <p:spPr>
            <a:xfrm>
              <a:off x="5701236" y="3962187"/>
              <a:ext cx="790575" cy="533400"/>
            </a:xfrm>
            <a:custGeom>
              <a:avLst/>
              <a:gdLst>
                <a:gd name="connsiteX0" fmla="*/ 712718 w 790575"/>
                <a:gd name="connsiteY0" fmla="*/ 121568 h 533400"/>
                <a:gd name="connsiteX1" fmla="*/ 541315 w 790575"/>
                <a:gd name="connsiteY1" fmla="*/ 75667 h 533400"/>
                <a:gd name="connsiteX2" fmla="*/ 297780 w 790575"/>
                <a:gd name="connsiteY2" fmla="*/ 254070 h 533400"/>
                <a:gd name="connsiteX3" fmla="*/ 541315 w 790575"/>
                <a:gd name="connsiteY3" fmla="*/ 432616 h 533400"/>
                <a:gd name="connsiteX4" fmla="*/ 770172 w 790575"/>
                <a:gd name="connsiteY4" fmla="*/ 298980 h 533400"/>
                <a:gd name="connsiteX5" fmla="*/ 768134 w 790575"/>
                <a:gd name="connsiteY5" fmla="*/ 302457 h 533400"/>
                <a:gd name="connsiteX6" fmla="*/ 688982 w 790575"/>
                <a:gd name="connsiteY6" fmla="*/ 344519 h 533400"/>
                <a:gd name="connsiteX7" fmla="*/ 593703 w 790575"/>
                <a:gd name="connsiteY7" fmla="*/ 249212 h 533400"/>
                <a:gd name="connsiteX8" fmla="*/ 688982 w 790575"/>
                <a:gd name="connsiteY8" fmla="*/ 153876 h 533400"/>
                <a:gd name="connsiteX9" fmla="*/ 784346 w 790575"/>
                <a:gd name="connsiteY9" fmla="*/ 249212 h 533400"/>
                <a:gd name="connsiteX10" fmla="*/ 786127 w 790575"/>
                <a:gd name="connsiteY10" fmla="*/ 270053 h 533400"/>
                <a:gd name="connsiteX11" fmla="*/ 396583 w 790575"/>
                <a:gd name="connsiteY11" fmla="*/ 532924 h 533400"/>
                <a:gd name="connsiteX12" fmla="*/ 7144 w 790575"/>
                <a:gd name="connsiteY12" fmla="*/ 270053 h 533400"/>
                <a:gd name="connsiteX13" fmla="*/ 396583 w 790575"/>
                <a:gd name="connsiteY13" fmla="*/ 7144 h 533400"/>
                <a:gd name="connsiteX14" fmla="*/ 712718 w 790575"/>
                <a:gd name="connsiteY14" fmla="*/ 121568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0575" h="533400">
                  <a:moveTo>
                    <a:pt x="712718" y="121568"/>
                  </a:moveTo>
                  <a:cubicBezTo>
                    <a:pt x="668874" y="90268"/>
                    <a:pt x="608171" y="75667"/>
                    <a:pt x="541315" y="75667"/>
                  </a:cubicBezTo>
                  <a:cubicBezTo>
                    <a:pt x="406698" y="75667"/>
                    <a:pt x="297780" y="155524"/>
                    <a:pt x="297780" y="254070"/>
                  </a:cubicBezTo>
                  <a:cubicBezTo>
                    <a:pt x="297780" y="352596"/>
                    <a:pt x="406698" y="432616"/>
                    <a:pt x="541315" y="432616"/>
                  </a:cubicBezTo>
                  <a:cubicBezTo>
                    <a:pt x="654110" y="432616"/>
                    <a:pt x="744722" y="348015"/>
                    <a:pt x="770172" y="298980"/>
                  </a:cubicBezTo>
                  <a:lnTo>
                    <a:pt x="768134" y="302457"/>
                  </a:lnTo>
                  <a:cubicBezTo>
                    <a:pt x="750904" y="327793"/>
                    <a:pt x="721976" y="344519"/>
                    <a:pt x="688982" y="344519"/>
                  </a:cubicBezTo>
                  <a:cubicBezTo>
                    <a:pt x="636413" y="344519"/>
                    <a:pt x="593703" y="301752"/>
                    <a:pt x="593703" y="249212"/>
                  </a:cubicBezTo>
                  <a:cubicBezTo>
                    <a:pt x="593703" y="196425"/>
                    <a:pt x="636413" y="153876"/>
                    <a:pt x="688982" y="153876"/>
                  </a:cubicBezTo>
                  <a:cubicBezTo>
                    <a:pt x="741693" y="153876"/>
                    <a:pt x="784346" y="196415"/>
                    <a:pt x="784346" y="249212"/>
                  </a:cubicBezTo>
                  <a:lnTo>
                    <a:pt x="786127" y="270053"/>
                  </a:lnTo>
                  <a:cubicBezTo>
                    <a:pt x="786127" y="415242"/>
                    <a:pt x="611705" y="532924"/>
                    <a:pt x="396583" y="532924"/>
                  </a:cubicBezTo>
                  <a:cubicBezTo>
                    <a:pt x="181537" y="532924"/>
                    <a:pt x="7144" y="415252"/>
                    <a:pt x="7144" y="270053"/>
                  </a:cubicBezTo>
                  <a:cubicBezTo>
                    <a:pt x="7144" y="124958"/>
                    <a:pt x="181537" y="7144"/>
                    <a:pt x="396583" y="7144"/>
                  </a:cubicBezTo>
                  <a:cubicBezTo>
                    <a:pt x="527313" y="7144"/>
                    <a:pt x="642156" y="54740"/>
                    <a:pt x="712718" y="121568"/>
                  </a:cubicBezTo>
                </a:path>
              </a:pathLst>
            </a:custGeom>
            <a:solidFill>
              <a:srgbClr val="D6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D6E6A2AE-7C56-40A3-A1B1-FC1276076B10}"/>
                </a:ext>
              </a:extLst>
            </p:cNvPr>
            <p:cNvSpPr/>
            <p:nvPr/>
          </p:nvSpPr>
          <p:spPr>
            <a:xfrm>
              <a:off x="3006719" y="4736341"/>
              <a:ext cx="533400" cy="704850"/>
            </a:xfrm>
            <a:custGeom>
              <a:avLst/>
              <a:gdLst>
                <a:gd name="connsiteX0" fmla="*/ 311248 w 533400"/>
                <a:gd name="connsiteY0" fmla="*/ 398507 h 704850"/>
                <a:gd name="connsiteX1" fmla="*/ 207874 w 533400"/>
                <a:gd name="connsiteY1" fmla="*/ 398507 h 704850"/>
                <a:gd name="connsiteX2" fmla="*/ 259480 w 533400"/>
                <a:gd name="connsiteY2" fmla="*/ 199901 h 704850"/>
                <a:gd name="connsiteX3" fmla="*/ 311248 w 533400"/>
                <a:gd name="connsiteY3" fmla="*/ 398507 h 704850"/>
                <a:gd name="connsiteX4" fmla="*/ 305010 w 533400"/>
                <a:gd name="connsiteY4" fmla="*/ 703974 h 704850"/>
                <a:gd name="connsiteX5" fmla="*/ 527733 w 533400"/>
                <a:gd name="connsiteY5" fmla="*/ 703974 h 704850"/>
                <a:gd name="connsiteX6" fmla="*/ 527847 w 533400"/>
                <a:gd name="connsiteY6" fmla="*/ 652815 h 704850"/>
                <a:gd name="connsiteX7" fmla="*/ 492966 w 533400"/>
                <a:gd name="connsiteY7" fmla="*/ 609876 h 704850"/>
                <a:gd name="connsiteX8" fmla="*/ 333061 w 533400"/>
                <a:gd name="connsiteY8" fmla="*/ 7144 h 704850"/>
                <a:gd name="connsiteX9" fmla="*/ 220161 w 533400"/>
                <a:gd name="connsiteY9" fmla="*/ 7144 h 704850"/>
                <a:gd name="connsiteX10" fmla="*/ 65446 w 533400"/>
                <a:gd name="connsiteY10" fmla="*/ 592703 h 704850"/>
                <a:gd name="connsiteX11" fmla="*/ 7144 w 533400"/>
                <a:gd name="connsiteY11" fmla="*/ 654253 h 704850"/>
                <a:gd name="connsiteX12" fmla="*/ 7144 w 533400"/>
                <a:gd name="connsiteY12" fmla="*/ 703974 h 704850"/>
                <a:gd name="connsiteX13" fmla="*/ 214189 w 533400"/>
                <a:gd name="connsiteY13" fmla="*/ 703974 h 704850"/>
                <a:gd name="connsiteX14" fmla="*/ 214189 w 533400"/>
                <a:gd name="connsiteY14" fmla="*/ 654253 h 704850"/>
                <a:gd name="connsiteX15" fmla="*/ 166621 w 533400"/>
                <a:gd name="connsiteY15" fmla="*/ 629793 h 704850"/>
                <a:gd name="connsiteX16" fmla="*/ 155696 w 533400"/>
                <a:gd name="connsiteY16" fmla="*/ 591150 h 704850"/>
                <a:gd name="connsiteX17" fmla="*/ 190919 w 533400"/>
                <a:gd name="connsiteY17" fmla="*/ 464182 h 704850"/>
                <a:gd name="connsiteX18" fmla="*/ 328251 w 533400"/>
                <a:gd name="connsiteY18" fmla="*/ 464182 h 704850"/>
                <a:gd name="connsiteX19" fmla="*/ 363445 w 533400"/>
                <a:gd name="connsiteY19" fmla="*/ 590702 h 704850"/>
                <a:gd name="connsiteX20" fmla="*/ 352539 w 533400"/>
                <a:gd name="connsiteY20" fmla="*/ 629793 h 704850"/>
                <a:gd name="connsiteX21" fmla="*/ 305000 w 533400"/>
                <a:gd name="connsiteY21" fmla="*/ 654253 h 704850"/>
                <a:gd name="connsiteX22" fmla="*/ 305000 w 533400"/>
                <a:gd name="connsiteY22" fmla="*/ 703974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33400" h="704850">
                  <a:moveTo>
                    <a:pt x="311248" y="398507"/>
                  </a:moveTo>
                  <a:lnTo>
                    <a:pt x="207874" y="398507"/>
                  </a:lnTo>
                  <a:lnTo>
                    <a:pt x="259480" y="199901"/>
                  </a:lnTo>
                  <a:lnTo>
                    <a:pt x="311248" y="398507"/>
                  </a:lnTo>
                  <a:close/>
                  <a:moveTo>
                    <a:pt x="305010" y="703974"/>
                  </a:moveTo>
                  <a:lnTo>
                    <a:pt x="527733" y="703974"/>
                  </a:lnTo>
                  <a:lnTo>
                    <a:pt x="527847" y="652815"/>
                  </a:lnTo>
                  <a:cubicBezTo>
                    <a:pt x="510616" y="644080"/>
                    <a:pt x="497996" y="628583"/>
                    <a:pt x="492966" y="609876"/>
                  </a:cubicBezTo>
                  <a:lnTo>
                    <a:pt x="333061" y="7144"/>
                  </a:lnTo>
                  <a:lnTo>
                    <a:pt x="220161" y="7144"/>
                  </a:lnTo>
                  <a:lnTo>
                    <a:pt x="65446" y="592703"/>
                  </a:lnTo>
                  <a:cubicBezTo>
                    <a:pt x="61636" y="606885"/>
                    <a:pt x="46301" y="651539"/>
                    <a:pt x="7144" y="654253"/>
                  </a:cubicBezTo>
                  <a:lnTo>
                    <a:pt x="7144" y="703974"/>
                  </a:lnTo>
                  <a:lnTo>
                    <a:pt x="214189" y="703974"/>
                  </a:lnTo>
                  <a:lnTo>
                    <a:pt x="214189" y="654253"/>
                  </a:lnTo>
                  <a:cubicBezTo>
                    <a:pt x="196082" y="653044"/>
                    <a:pt x="178260" y="643804"/>
                    <a:pt x="166621" y="629793"/>
                  </a:cubicBezTo>
                  <a:cubicBezTo>
                    <a:pt x="156905" y="618096"/>
                    <a:pt x="153038" y="604399"/>
                    <a:pt x="155696" y="591150"/>
                  </a:cubicBezTo>
                  <a:lnTo>
                    <a:pt x="190919" y="464182"/>
                  </a:lnTo>
                  <a:lnTo>
                    <a:pt x="328251" y="464182"/>
                  </a:lnTo>
                  <a:lnTo>
                    <a:pt x="363445" y="590702"/>
                  </a:lnTo>
                  <a:cubicBezTo>
                    <a:pt x="366160" y="604399"/>
                    <a:pt x="362283" y="618096"/>
                    <a:pt x="352539" y="629793"/>
                  </a:cubicBezTo>
                  <a:cubicBezTo>
                    <a:pt x="340985" y="643804"/>
                    <a:pt x="323107" y="653034"/>
                    <a:pt x="305000" y="654253"/>
                  </a:cubicBezTo>
                  <a:lnTo>
                    <a:pt x="305000" y="70397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2">
              <a:extLst>
                <a:ext uri="{FF2B5EF4-FFF2-40B4-BE49-F238E27FC236}">
                  <a16:creationId xmlns:a16="http://schemas.microsoft.com/office/drawing/2014/main" id="{8423679F-B75D-46EE-9C9C-47ABC0070B0F}"/>
                </a:ext>
              </a:extLst>
            </p:cNvPr>
            <p:cNvSpPr/>
            <p:nvPr/>
          </p:nvSpPr>
          <p:spPr>
            <a:xfrm>
              <a:off x="4027675" y="4736494"/>
              <a:ext cx="247650" cy="704850"/>
            </a:xfrm>
            <a:custGeom>
              <a:avLst/>
              <a:gdLst>
                <a:gd name="connsiteX0" fmla="*/ 7144 w 247650"/>
                <a:gd name="connsiteY0" fmla="*/ 704488 h 704850"/>
                <a:gd name="connsiteX1" fmla="*/ 240573 w 247650"/>
                <a:gd name="connsiteY1" fmla="*/ 704488 h 704850"/>
                <a:gd name="connsiteX2" fmla="*/ 240573 w 247650"/>
                <a:gd name="connsiteY2" fmla="*/ 654634 h 704850"/>
                <a:gd name="connsiteX3" fmla="*/ 181956 w 247650"/>
                <a:gd name="connsiteY3" fmla="*/ 592465 h 704850"/>
                <a:gd name="connsiteX4" fmla="*/ 181956 w 247650"/>
                <a:gd name="connsiteY4" fmla="*/ 119253 h 704850"/>
                <a:gd name="connsiteX5" fmla="*/ 240573 w 247650"/>
                <a:gd name="connsiteY5" fmla="*/ 56769 h 704850"/>
                <a:gd name="connsiteX6" fmla="*/ 240573 w 247650"/>
                <a:gd name="connsiteY6" fmla="*/ 7144 h 704850"/>
                <a:gd name="connsiteX7" fmla="*/ 7144 w 247650"/>
                <a:gd name="connsiteY7" fmla="*/ 7144 h 704850"/>
                <a:gd name="connsiteX8" fmla="*/ 7144 w 247650"/>
                <a:gd name="connsiteY8" fmla="*/ 56769 h 704850"/>
                <a:gd name="connsiteX9" fmla="*/ 65694 w 247650"/>
                <a:gd name="connsiteY9" fmla="*/ 119253 h 704850"/>
                <a:gd name="connsiteX10" fmla="*/ 65694 w 247650"/>
                <a:gd name="connsiteY10" fmla="*/ 592474 h 704850"/>
                <a:gd name="connsiteX11" fmla="*/ 7144 w 247650"/>
                <a:gd name="connsiteY11" fmla="*/ 654644 h 704850"/>
                <a:gd name="connsiteX12" fmla="*/ 7144 w 247650"/>
                <a:gd name="connsiteY12" fmla="*/ 704488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7650" h="704850">
                  <a:moveTo>
                    <a:pt x="7144" y="704488"/>
                  </a:moveTo>
                  <a:lnTo>
                    <a:pt x="240573" y="704488"/>
                  </a:lnTo>
                  <a:lnTo>
                    <a:pt x="240573" y="654634"/>
                  </a:lnTo>
                  <a:cubicBezTo>
                    <a:pt x="208007" y="652682"/>
                    <a:pt x="181956" y="625478"/>
                    <a:pt x="181956" y="592465"/>
                  </a:cubicBezTo>
                  <a:lnTo>
                    <a:pt x="181956" y="119253"/>
                  </a:lnTo>
                  <a:cubicBezTo>
                    <a:pt x="181956" y="86096"/>
                    <a:pt x="207997" y="58807"/>
                    <a:pt x="240573" y="56769"/>
                  </a:cubicBezTo>
                  <a:lnTo>
                    <a:pt x="240573" y="7144"/>
                  </a:lnTo>
                  <a:lnTo>
                    <a:pt x="7144" y="7144"/>
                  </a:lnTo>
                  <a:lnTo>
                    <a:pt x="7144" y="56769"/>
                  </a:lnTo>
                  <a:cubicBezTo>
                    <a:pt x="39767" y="58798"/>
                    <a:pt x="65694" y="86087"/>
                    <a:pt x="65694" y="119253"/>
                  </a:cubicBezTo>
                  <a:lnTo>
                    <a:pt x="65694" y="592474"/>
                  </a:lnTo>
                  <a:cubicBezTo>
                    <a:pt x="65694" y="625497"/>
                    <a:pt x="39767" y="652701"/>
                    <a:pt x="7144" y="654644"/>
                  </a:cubicBezTo>
                  <a:lnTo>
                    <a:pt x="7144" y="70448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3">
              <a:extLst>
                <a:ext uri="{FF2B5EF4-FFF2-40B4-BE49-F238E27FC236}">
                  <a16:creationId xmlns:a16="http://schemas.microsoft.com/office/drawing/2014/main" id="{A2E45EB4-0823-404F-942E-A2C5F3D234C4}"/>
                </a:ext>
              </a:extLst>
            </p:cNvPr>
            <p:cNvSpPr/>
            <p:nvPr/>
          </p:nvSpPr>
          <p:spPr>
            <a:xfrm>
              <a:off x="4880505" y="4724968"/>
              <a:ext cx="495300" cy="733425"/>
            </a:xfrm>
            <a:custGeom>
              <a:avLst/>
              <a:gdLst>
                <a:gd name="connsiteX0" fmla="*/ 248088 w 495300"/>
                <a:gd name="connsiteY0" fmla="*/ 650967 h 733425"/>
                <a:gd name="connsiteX1" fmla="*/ 137074 w 495300"/>
                <a:gd name="connsiteY1" fmla="*/ 366979 h 733425"/>
                <a:gd name="connsiteX2" fmla="*/ 248088 w 495300"/>
                <a:gd name="connsiteY2" fmla="*/ 83125 h 733425"/>
                <a:gd name="connsiteX3" fmla="*/ 359102 w 495300"/>
                <a:gd name="connsiteY3" fmla="*/ 366979 h 733425"/>
                <a:gd name="connsiteX4" fmla="*/ 248088 w 495300"/>
                <a:gd name="connsiteY4" fmla="*/ 650967 h 733425"/>
                <a:gd name="connsiteX5" fmla="*/ 248088 w 495300"/>
                <a:gd name="connsiteY5" fmla="*/ 7144 h 733425"/>
                <a:gd name="connsiteX6" fmla="*/ 7144 w 495300"/>
                <a:gd name="connsiteY6" fmla="*/ 366979 h 733425"/>
                <a:gd name="connsiteX7" fmla="*/ 248088 w 495300"/>
                <a:gd name="connsiteY7" fmla="*/ 727043 h 733425"/>
                <a:gd name="connsiteX8" fmla="*/ 489147 w 495300"/>
                <a:gd name="connsiteY8" fmla="*/ 366979 h 733425"/>
                <a:gd name="connsiteX9" fmla="*/ 248088 w 495300"/>
                <a:gd name="connsiteY9" fmla="*/ 7144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5300" h="733425">
                  <a:moveTo>
                    <a:pt x="248088" y="650967"/>
                  </a:moveTo>
                  <a:cubicBezTo>
                    <a:pt x="185833" y="650967"/>
                    <a:pt x="137074" y="526228"/>
                    <a:pt x="137074" y="366979"/>
                  </a:cubicBezTo>
                  <a:cubicBezTo>
                    <a:pt x="137074" y="207778"/>
                    <a:pt x="185833" y="83125"/>
                    <a:pt x="248088" y="83125"/>
                  </a:cubicBezTo>
                  <a:cubicBezTo>
                    <a:pt x="310344" y="83125"/>
                    <a:pt x="359102" y="207778"/>
                    <a:pt x="359102" y="366979"/>
                  </a:cubicBezTo>
                  <a:cubicBezTo>
                    <a:pt x="359092" y="526228"/>
                    <a:pt x="310344" y="650967"/>
                    <a:pt x="248088" y="650967"/>
                  </a:cubicBezTo>
                  <a:moveTo>
                    <a:pt x="248088" y="7144"/>
                  </a:moveTo>
                  <a:cubicBezTo>
                    <a:pt x="115214" y="7144"/>
                    <a:pt x="7144" y="168488"/>
                    <a:pt x="7144" y="366979"/>
                  </a:cubicBezTo>
                  <a:cubicBezTo>
                    <a:pt x="7144" y="565585"/>
                    <a:pt x="115214" y="727043"/>
                    <a:pt x="248088" y="727043"/>
                  </a:cubicBezTo>
                  <a:cubicBezTo>
                    <a:pt x="380962" y="727043"/>
                    <a:pt x="489147" y="565585"/>
                    <a:pt x="489147" y="366979"/>
                  </a:cubicBezTo>
                  <a:cubicBezTo>
                    <a:pt x="489147" y="168488"/>
                    <a:pt x="380952" y="7144"/>
                    <a:pt x="248088" y="7144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14">
              <a:extLst>
                <a:ext uri="{FF2B5EF4-FFF2-40B4-BE49-F238E27FC236}">
                  <a16:creationId xmlns:a16="http://schemas.microsoft.com/office/drawing/2014/main" id="{7076DD4E-7B03-43E8-8444-6D7955602AC0}"/>
                </a:ext>
              </a:extLst>
            </p:cNvPr>
            <p:cNvSpPr/>
            <p:nvPr/>
          </p:nvSpPr>
          <p:spPr>
            <a:xfrm>
              <a:off x="3566341" y="4725111"/>
              <a:ext cx="409575" cy="733425"/>
            </a:xfrm>
            <a:custGeom>
              <a:avLst/>
              <a:gdLst>
                <a:gd name="connsiteX0" fmla="*/ 116777 w 409575"/>
                <a:gd name="connsiteY0" fmla="*/ 692210 h 733425"/>
                <a:gd name="connsiteX1" fmla="*/ 120872 w 409575"/>
                <a:gd name="connsiteY1" fmla="*/ 695487 h 733425"/>
                <a:gd name="connsiteX2" fmla="*/ 216856 w 409575"/>
                <a:gd name="connsiteY2" fmla="*/ 727158 h 733425"/>
                <a:gd name="connsiteX3" fmla="*/ 218580 w 409575"/>
                <a:gd name="connsiteY3" fmla="*/ 727158 h 733425"/>
                <a:gd name="connsiteX4" fmla="*/ 318202 w 409575"/>
                <a:gd name="connsiteY4" fmla="*/ 695973 h 733425"/>
                <a:gd name="connsiteX5" fmla="*/ 403879 w 409575"/>
                <a:gd name="connsiteY5" fmla="*/ 496329 h 733425"/>
                <a:gd name="connsiteX6" fmla="*/ 233915 w 409575"/>
                <a:gd name="connsiteY6" fmla="*/ 288369 h 733425"/>
                <a:gd name="connsiteX7" fmla="*/ 111690 w 409575"/>
                <a:gd name="connsiteY7" fmla="*/ 172364 h 733425"/>
                <a:gd name="connsiteX8" fmla="*/ 179765 w 409575"/>
                <a:gd name="connsiteY8" fmla="*/ 81486 h 733425"/>
                <a:gd name="connsiteX9" fmla="*/ 317154 w 409575"/>
                <a:gd name="connsiteY9" fmla="*/ 225828 h 733425"/>
                <a:gd name="connsiteX10" fmla="*/ 361359 w 409575"/>
                <a:gd name="connsiteY10" fmla="*/ 200435 h 733425"/>
                <a:gd name="connsiteX11" fmla="*/ 328251 w 409575"/>
                <a:gd name="connsiteY11" fmla="*/ 23746 h 733425"/>
                <a:gd name="connsiteX12" fmla="*/ 272606 w 409575"/>
                <a:gd name="connsiteY12" fmla="*/ 23746 h 733425"/>
                <a:gd name="connsiteX13" fmla="*/ 262433 w 409575"/>
                <a:gd name="connsiteY13" fmla="*/ 47587 h 733425"/>
                <a:gd name="connsiteX14" fmla="*/ 258137 w 409575"/>
                <a:gd name="connsiteY14" fmla="*/ 44453 h 733425"/>
                <a:gd name="connsiteX15" fmla="*/ 162354 w 409575"/>
                <a:gd name="connsiteY15" fmla="*/ 7144 h 733425"/>
                <a:gd name="connsiteX16" fmla="*/ 7144 w 409575"/>
                <a:gd name="connsiteY16" fmla="*/ 207778 h 733425"/>
                <a:gd name="connsiteX17" fmla="*/ 177327 w 409575"/>
                <a:gd name="connsiteY17" fmla="*/ 412737 h 733425"/>
                <a:gd name="connsiteX18" fmla="*/ 304324 w 409575"/>
                <a:gd name="connsiteY18" fmla="*/ 536772 h 733425"/>
                <a:gd name="connsiteX19" fmla="*/ 207693 w 409575"/>
                <a:gd name="connsiteY19" fmla="*/ 651767 h 733425"/>
                <a:gd name="connsiteX20" fmla="*/ 206531 w 409575"/>
                <a:gd name="connsiteY20" fmla="*/ 651767 h 733425"/>
                <a:gd name="connsiteX21" fmla="*/ 58798 w 409575"/>
                <a:gd name="connsiteY21" fmla="*/ 463420 h 733425"/>
                <a:gd name="connsiteX22" fmla="*/ 7468 w 409575"/>
                <a:gd name="connsiteY22" fmla="*/ 492623 h 733425"/>
                <a:gd name="connsiteX23" fmla="*/ 50797 w 409575"/>
                <a:gd name="connsiteY23" fmla="*/ 716166 h 733425"/>
                <a:gd name="connsiteX24" fmla="*/ 106442 w 409575"/>
                <a:gd name="connsiteY24" fmla="*/ 716166 h 733425"/>
                <a:gd name="connsiteX25" fmla="*/ 116777 w 409575"/>
                <a:gd name="connsiteY25" fmla="*/ 69221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575" h="733425">
                  <a:moveTo>
                    <a:pt x="116777" y="692210"/>
                  </a:moveTo>
                  <a:lnTo>
                    <a:pt x="120872" y="695487"/>
                  </a:lnTo>
                  <a:cubicBezTo>
                    <a:pt x="145761" y="715404"/>
                    <a:pt x="180699" y="727158"/>
                    <a:pt x="216856" y="727158"/>
                  </a:cubicBezTo>
                  <a:lnTo>
                    <a:pt x="218580" y="727158"/>
                  </a:lnTo>
                  <a:cubicBezTo>
                    <a:pt x="227505" y="727158"/>
                    <a:pt x="274253" y="725691"/>
                    <a:pt x="318202" y="695973"/>
                  </a:cubicBezTo>
                  <a:cubicBezTo>
                    <a:pt x="374952" y="657844"/>
                    <a:pt x="403879" y="590436"/>
                    <a:pt x="403879" y="496329"/>
                  </a:cubicBezTo>
                  <a:cubicBezTo>
                    <a:pt x="403879" y="338795"/>
                    <a:pt x="313515" y="311963"/>
                    <a:pt x="233915" y="288369"/>
                  </a:cubicBezTo>
                  <a:cubicBezTo>
                    <a:pt x="170983" y="269672"/>
                    <a:pt x="111690" y="252070"/>
                    <a:pt x="111690" y="172364"/>
                  </a:cubicBezTo>
                  <a:cubicBezTo>
                    <a:pt x="111690" y="137246"/>
                    <a:pt x="130140" y="81486"/>
                    <a:pt x="179765" y="81486"/>
                  </a:cubicBezTo>
                  <a:cubicBezTo>
                    <a:pt x="242192" y="81486"/>
                    <a:pt x="275301" y="130016"/>
                    <a:pt x="317154" y="225828"/>
                  </a:cubicBezTo>
                  <a:lnTo>
                    <a:pt x="361359" y="200435"/>
                  </a:lnTo>
                  <a:lnTo>
                    <a:pt x="328251" y="23746"/>
                  </a:lnTo>
                  <a:lnTo>
                    <a:pt x="272606" y="23746"/>
                  </a:lnTo>
                  <a:lnTo>
                    <a:pt x="262433" y="47587"/>
                  </a:lnTo>
                  <a:lnTo>
                    <a:pt x="258137" y="44453"/>
                  </a:lnTo>
                  <a:cubicBezTo>
                    <a:pt x="229467" y="21155"/>
                    <a:pt x="193643" y="7144"/>
                    <a:pt x="162354" y="7144"/>
                  </a:cubicBezTo>
                  <a:cubicBezTo>
                    <a:pt x="47930" y="7144"/>
                    <a:pt x="7144" y="110871"/>
                    <a:pt x="7144" y="207778"/>
                  </a:cubicBezTo>
                  <a:cubicBezTo>
                    <a:pt x="7144" y="353501"/>
                    <a:pt x="97565" y="385020"/>
                    <a:pt x="177327" y="412737"/>
                  </a:cubicBezTo>
                  <a:cubicBezTo>
                    <a:pt x="242516" y="435645"/>
                    <a:pt x="304324" y="456971"/>
                    <a:pt x="304324" y="536772"/>
                  </a:cubicBezTo>
                  <a:cubicBezTo>
                    <a:pt x="304324" y="648824"/>
                    <a:pt x="217494" y="651767"/>
                    <a:pt x="207693" y="651767"/>
                  </a:cubicBezTo>
                  <a:lnTo>
                    <a:pt x="206531" y="651767"/>
                  </a:lnTo>
                  <a:cubicBezTo>
                    <a:pt x="145856" y="651767"/>
                    <a:pt x="112300" y="609429"/>
                    <a:pt x="58798" y="463420"/>
                  </a:cubicBezTo>
                  <a:lnTo>
                    <a:pt x="7468" y="492623"/>
                  </a:lnTo>
                  <a:lnTo>
                    <a:pt x="50797" y="716166"/>
                  </a:lnTo>
                  <a:lnTo>
                    <a:pt x="106442" y="716166"/>
                  </a:lnTo>
                  <a:lnTo>
                    <a:pt x="116777" y="69221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5">
              <a:extLst>
                <a:ext uri="{FF2B5EF4-FFF2-40B4-BE49-F238E27FC236}">
                  <a16:creationId xmlns:a16="http://schemas.microsoft.com/office/drawing/2014/main" id="{4DFE46E3-AF5C-462E-8D77-669F51812418}"/>
                </a:ext>
              </a:extLst>
            </p:cNvPr>
            <p:cNvSpPr/>
            <p:nvPr/>
          </p:nvSpPr>
          <p:spPr>
            <a:xfrm>
              <a:off x="8252079" y="4737208"/>
              <a:ext cx="485775" cy="704850"/>
            </a:xfrm>
            <a:custGeom>
              <a:avLst/>
              <a:gdLst>
                <a:gd name="connsiteX0" fmla="*/ 235420 w 485775"/>
                <a:gd name="connsiteY0" fmla="*/ 319345 h 704850"/>
                <a:gd name="connsiteX1" fmla="*/ 181499 w 485775"/>
                <a:gd name="connsiteY1" fmla="*/ 319345 h 704850"/>
                <a:gd name="connsiteX2" fmla="*/ 181499 w 485775"/>
                <a:gd name="connsiteY2" fmla="*/ 125825 h 704850"/>
                <a:gd name="connsiteX3" fmla="*/ 240163 w 485775"/>
                <a:gd name="connsiteY3" fmla="*/ 68685 h 704850"/>
                <a:gd name="connsiteX4" fmla="*/ 341738 w 485775"/>
                <a:gd name="connsiteY4" fmla="*/ 193558 h 704850"/>
                <a:gd name="connsiteX5" fmla="*/ 235420 w 485775"/>
                <a:gd name="connsiteY5" fmla="*/ 319345 h 704850"/>
                <a:gd name="connsiteX6" fmla="*/ 339957 w 485775"/>
                <a:gd name="connsiteY6" fmla="*/ 703774 h 704850"/>
                <a:gd name="connsiteX7" fmla="*/ 486670 w 485775"/>
                <a:gd name="connsiteY7" fmla="*/ 703774 h 704850"/>
                <a:gd name="connsiteX8" fmla="*/ 486670 w 485775"/>
                <a:gd name="connsiteY8" fmla="*/ 653920 h 704850"/>
                <a:gd name="connsiteX9" fmla="*/ 428397 w 485775"/>
                <a:gd name="connsiteY9" fmla="*/ 593017 h 704850"/>
                <a:gd name="connsiteX10" fmla="*/ 330994 w 485775"/>
                <a:gd name="connsiteY10" fmla="*/ 375542 h 704850"/>
                <a:gd name="connsiteX11" fmla="*/ 335489 w 485775"/>
                <a:gd name="connsiteY11" fmla="*/ 374437 h 704850"/>
                <a:gd name="connsiteX12" fmla="*/ 453733 w 485775"/>
                <a:gd name="connsiteY12" fmla="*/ 202863 h 704850"/>
                <a:gd name="connsiteX13" fmla="*/ 303514 w 485775"/>
                <a:gd name="connsiteY13" fmla="*/ 7144 h 704850"/>
                <a:gd name="connsiteX14" fmla="*/ 7144 w 485775"/>
                <a:gd name="connsiteY14" fmla="*/ 7144 h 704850"/>
                <a:gd name="connsiteX15" fmla="*/ 7144 w 485775"/>
                <a:gd name="connsiteY15" fmla="*/ 57026 h 704850"/>
                <a:gd name="connsiteX16" fmla="*/ 65684 w 485775"/>
                <a:gd name="connsiteY16" fmla="*/ 119396 h 704850"/>
                <a:gd name="connsiteX17" fmla="*/ 65684 w 485775"/>
                <a:gd name="connsiteY17" fmla="*/ 591798 h 704850"/>
                <a:gd name="connsiteX18" fmla="*/ 7144 w 485775"/>
                <a:gd name="connsiteY18" fmla="*/ 654196 h 704850"/>
                <a:gd name="connsiteX19" fmla="*/ 7144 w 485775"/>
                <a:gd name="connsiteY19" fmla="*/ 703764 h 704850"/>
                <a:gd name="connsiteX20" fmla="*/ 240154 w 485775"/>
                <a:gd name="connsiteY20" fmla="*/ 703764 h 704850"/>
                <a:gd name="connsiteX21" fmla="*/ 240154 w 485775"/>
                <a:gd name="connsiteY21" fmla="*/ 654206 h 704850"/>
                <a:gd name="connsiteX22" fmla="*/ 181490 w 485775"/>
                <a:gd name="connsiteY22" fmla="*/ 591807 h 704850"/>
                <a:gd name="connsiteX23" fmla="*/ 181490 w 485775"/>
                <a:gd name="connsiteY23" fmla="*/ 396364 h 704850"/>
                <a:gd name="connsiteX24" fmla="*/ 204235 w 485775"/>
                <a:gd name="connsiteY24" fmla="*/ 396364 h 704850"/>
                <a:gd name="connsiteX25" fmla="*/ 339957 w 485775"/>
                <a:gd name="connsiteY25" fmla="*/ 703774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85775" h="704850">
                  <a:moveTo>
                    <a:pt x="235420" y="319345"/>
                  </a:moveTo>
                  <a:lnTo>
                    <a:pt x="181499" y="319345"/>
                  </a:lnTo>
                  <a:lnTo>
                    <a:pt x="181499" y="125825"/>
                  </a:lnTo>
                  <a:cubicBezTo>
                    <a:pt x="181499" y="92612"/>
                    <a:pt x="206216" y="68685"/>
                    <a:pt x="240163" y="68685"/>
                  </a:cubicBezTo>
                  <a:cubicBezTo>
                    <a:pt x="324060" y="68685"/>
                    <a:pt x="341738" y="136531"/>
                    <a:pt x="341738" y="193558"/>
                  </a:cubicBezTo>
                  <a:cubicBezTo>
                    <a:pt x="341738" y="250955"/>
                    <a:pt x="323231" y="319345"/>
                    <a:pt x="235420" y="319345"/>
                  </a:cubicBezTo>
                  <a:moveTo>
                    <a:pt x="339957" y="703774"/>
                  </a:moveTo>
                  <a:lnTo>
                    <a:pt x="486670" y="703774"/>
                  </a:lnTo>
                  <a:lnTo>
                    <a:pt x="486670" y="653920"/>
                  </a:lnTo>
                  <a:cubicBezTo>
                    <a:pt x="449523" y="650386"/>
                    <a:pt x="429320" y="595503"/>
                    <a:pt x="428397" y="593017"/>
                  </a:cubicBezTo>
                  <a:lnTo>
                    <a:pt x="330994" y="375542"/>
                  </a:lnTo>
                  <a:lnTo>
                    <a:pt x="335489" y="374437"/>
                  </a:lnTo>
                  <a:cubicBezTo>
                    <a:pt x="379648" y="362464"/>
                    <a:pt x="453733" y="324193"/>
                    <a:pt x="453733" y="202863"/>
                  </a:cubicBezTo>
                  <a:cubicBezTo>
                    <a:pt x="453733" y="40929"/>
                    <a:pt x="371933" y="7144"/>
                    <a:pt x="303514" y="7144"/>
                  </a:cubicBezTo>
                  <a:lnTo>
                    <a:pt x="7144" y="7144"/>
                  </a:lnTo>
                  <a:lnTo>
                    <a:pt x="7144" y="57026"/>
                  </a:lnTo>
                  <a:cubicBezTo>
                    <a:pt x="39777" y="59007"/>
                    <a:pt x="65684" y="86230"/>
                    <a:pt x="65684" y="119396"/>
                  </a:cubicBezTo>
                  <a:lnTo>
                    <a:pt x="65684" y="591798"/>
                  </a:lnTo>
                  <a:cubicBezTo>
                    <a:pt x="65684" y="624992"/>
                    <a:pt x="39777" y="651967"/>
                    <a:pt x="7144" y="654196"/>
                  </a:cubicBezTo>
                  <a:lnTo>
                    <a:pt x="7144" y="703764"/>
                  </a:lnTo>
                  <a:lnTo>
                    <a:pt x="240154" y="703764"/>
                  </a:lnTo>
                  <a:lnTo>
                    <a:pt x="240154" y="654206"/>
                  </a:lnTo>
                  <a:cubicBezTo>
                    <a:pt x="207702" y="651977"/>
                    <a:pt x="181490" y="625002"/>
                    <a:pt x="181490" y="591807"/>
                  </a:cubicBezTo>
                  <a:lnTo>
                    <a:pt x="181490" y="396364"/>
                  </a:lnTo>
                  <a:lnTo>
                    <a:pt x="204235" y="396364"/>
                  </a:lnTo>
                  <a:lnTo>
                    <a:pt x="339957" y="70377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16">
              <a:extLst>
                <a:ext uri="{FF2B5EF4-FFF2-40B4-BE49-F238E27FC236}">
                  <a16:creationId xmlns:a16="http://schemas.microsoft.com/office/drawing/2014/main" id="{5A7410F2-3A38-4100-8F3C-A11C0E483894}"/>
                </a:ext>
              </a:extLst>
            </p:cNvPr>
            <p:cNvSpPr/>
            <p:nvPr/>
          </p:nvSpPr>
          <p:spPr>
            <a:xfrm>
              <a:off x="5433831" y="4725111"/>
              <a:ext cx="409575" cy="733425"/>
            </a:xfrm>
            <a:custGeom>
              <a:avLst/>
              <a:gdLst>
                <a:gd name="connsiteX0" fmla="*/ 116824 w 409575"/>
                <a:gd name="connsiteY0" fmla="*/ 692210 h 733425"/>
                <a:gd name="connsiteX1" fmla="*/ 120920 w 409575"/>
                <a:gd name="connsiteY1" fmla="*/ 695487 h 733425"/>
                <a:gd name="connsiteX2" fmla="*/ 216846 w 409575"/>
                <a:gd name="connsiteY2" fmla="*/ 727158 h 733425"/>
                <a:gd name="connsiteX3" fmla="*/ 218627 w 409575"/>
                <a:gd name="connsiteY3" fmla="*/ 727158 h 733425"/>
                <a:gd name="connsiteX4" fmla="*/ 403755 w 409575"/>
                <a:gd name="connsiteY4" fmla="*/ 496329 h 733425"/>
                <a:gd name="connsiteX5" fmla="*/ 233963 w 409575"/>
                <a:gd name="connsiteY5" fmla="*/ 288369 h 733425"/>
                <a:gd name="connsiteX6" fmla="*/ 111681 w 409575"/>
                <a:gd name="connsiteY6" fmla="*/ 172364 h 733425"/>
                <a:gd name="connsiteX7" fmla="*/ 179813 w 409575"/>
                <a:gd name="connsiteY7" fmla="*/ 81486 h 733425"/>
                <a:gd name="connsiteX8" fmla="*/ 317145 w 409575"/>
                <a:gd name="connsiteY8" fmla="*/ 225828 h 733425"/>
                <a:gd name="connsiteX9" fmla="*/ 361350 w 409575"/>
                <a:gd name="connsiteY9" fmla="*/ 200435 h 733425"/>
                <a:gd name="connsiteX10" fmla="*/ 328241 w 409575"/>
                <a:gd name="connsiteY10" fmla="*/ 23746 h 733425"/>
                <a:gd name="connsiteX11" fmla="*/ 272596 w 409575"/>
                <a:gd name="connsiteY11" fmla="*/ 23746 h 733425"/>
                <a:gd name="connsiteX12" fmla="*/ 262433 w 409575"/>
                <a:gd name="connsiteY12" fmla="*/ 47587 h 733425"/>
                <a:gd name="connsiteX13" fmla="*/ 258251 w 409575"/>
                <a:gd name="connsiteY13" fmla="*/ 44453 h 733425"/>
                <a:gd name="connsiteX14" fmla="*/ 162354 w 409575"/>
                <a:gd name="connsiteY14" fmla="*/ 7144 h 733425"/>
                <a:gd name="connsiteX15" fmla="*/ 7144 w 409575"/>
                <a:gd name="connsiteY15" fmla="*/ 207778 h 733425"/>
                <a:gd name="connsiteX16" fmla="*/ 177327 w 409575"/>
                <a:gd name="connsiteY16" fmla="*/ 412737 h 733425"/>
                <a:gd name="connsiteX17" fmla="*/ 304324 w 409575"/>
                <a:gd name="connsiteY17" fmla="*/ 536772 h 733425"/>
                <a:gd name="connsiteX18" fmla="*/ 207750 w 409575"/>
                <a:gd name="connsiteY18" fmla="*/ 651767 h 733425"/>
                <a:gd name="connsiteX19" fmla="*/ 206540 w 409575"/>
                <a:gd name="connsiteY19" fmla="*/ 651767 h 733425"/>
                <a:gd name="connsiteX20" fmla="*/ 58865 w 409575"/>
                <a:gd name="connsiteY20" fmla="*/ 463420 h 733425"/>
                <a:gd name="connsiteX21" fmla="*/ 7544 w 409575"/>
                <a:gd name="connsiteY21" fmla="*/ 492623 h 733425"/>
                <a:gd name="connsiteX22" fmla="*/ 50930 w 409575"/>
                <a:gd name="connsiteY22" fmla="*/ 716166 h 733425"/>
                <a:gd name="connsiteX23" fmla="*/ 106461 w 409575"/>
                <a:gd name="connsiteY23" fmla="*/ 716166 h 733425"/>
                <a:gd name="connsiteX24" fmla="*/ 116824 w 409575"/>
                <a:gd name="connsiteY24" fmla="*/ 69221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09575" h="733425">
                  <a:moveTo>
                    <a:pt x="116824" y="692210"/>
                  </a:moveTo>
                  <a:lnTo>
                    <a:pt x="120920" y="695487"/>
                  </a:lnTo>
                  <a:cubicBezTo>
                    <a:pt x="145866" y="715404"/>
                    <a:pt x="180804" y="727158"/>
                    <a:pt x="216846" y="727158"/>
                  </a:cubicBezTo>
                  <a:lnTo>
                    <a:pt x="218627" y="727158"/>
                  </a:lnTo>
                  <a:cubicBezTo>
                    <a:pt x="237554" y="727158"/>
                    <a:pt x="403755" y="720662"/>
                    <a:pt x="403755" y="496329"/>
                  </a:cubicBezTo>
                  <a:cubicBezTo>
                    <a:pt x="403755" y="338795"/>
                    <a:pt x="313563" y="311963"/>
                    <a:pt x="233963" y="288369"/>
                  </a:cubicBezTo>
                  <a:cubicBezTo>
                    <a:pt x="171079" y="269672"/>
                    <a:pt x="111681" y="252070"/>
                    <a:pt x="111681" y="172364"/>
                  </a:cubicBezTo>
                  <a:cubicBezTo>
                    <a:pt x="111681" y="137246"/>
                    <a:pt x="130131" y="81486"/>
                    <a:pt x="179813" y="81486"/>
                  </a:cubicBezTo>
                  <a:cubicBezTo>
                    <a:pt x="242183" y="81486"/>
                    <a:pt x="275397" y="130016"/>
                    <a:pt x="317145" y="225828"/>
                  </a:cubicBezTo>
                  <a:lnTo>
                    <a:pt x="361350" y="200435"/>
                  </a:lnTo>
                  <a:lnTo>
                    <a:pt x="328241" y="23746"/>
                  </a:lnTo>
                  <a:lnTo>
                    <a:pt x="272596" y="23746"/>
                  </a:lnTo>
                  <a:lnTo>
                    <a:pt x="262433" y="47587"/>
                  </a:lnTo>
                  <a:lnTo>
                    <a:pt x="258251" y="44453"/>
                  </a:lnTo>
                  <a:cubicBezTo>
                    <a:pt x="229496" y="21155"/>
                    <a:pt x="193596" y="7144"/>
                    <a:pt x="162354" y="7144"/>
                  </a:cubicBezTo>
                  <a:cubicBezTo>
                    <a:pt x="47987" y="7144"/>
                    <a:pt x="7144" y="110871"/>
                    <a:pt x="7144" y="207778"/>
                  </a:cubicBezTo>
                  <a:cubicBezTo>
                    <a:pt x="7144" y="353501"/>
                    <a:pt x="97622" y="385020"/>
                    <a:pt x="177327" y="412737"/>
                  </a:cubicBezTo>
                  <a:cubicBezTo>
                    <a:pt x="242688" y="435645"/>
                    <a:pt x="304324" y="456971"/>
                    <a:pt x="304324" y="536772"/>
                  </a:cubicBezTo>
                  <a:cubicBezTo>
                    <a:pt x="304324" y="648824"/>
                    <a:pt x="217608" y="651767"/>
                    <a:pt x="207750" y="651767"/>
                  </a:cubicBezTo>
                  <a:lnTo>
                    <a:pt x="206540" y="651767"/>
                  </a:lnTo>
                  <a:cubicBezTo>
                    <a:pt x="145866" y="651767"/>
                    <a:pt x="112424" y="609429"/>
                    <a:pt x="58865" y="463420"/>
                  </a:cubicBezTo>
                  <a:lnTo>
                    <a:pt x="7544" y="492623"/>
                  </a:lnTo>
                  <a:lnTo>
                    <a:pt x="50930" y="716166"/>
                  </a:lnTo>
                  <a:lnTo>
                    <a:pt x="106461" y="716166"/>
                  </a:lnTo>
                  <a:lnTo>
                    <a:pt x="116824" y="69221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17">
              <a:extLst>
                <a:ext uri="{FF2B5EF4-FFF2-40B4-BE49-F238E27FC236}">
                  <a16:creationId xmlns:a16="http://schemas.microsoft.com/office/drawing/2014/main" id="{C82DDAE8-307D-43BB-B34E-1F355DA7B8E6}"/>
                </a:ext>
              </a:extLst>
            </p:cNvPr>
            <p:cNvSpPr/>
            <p:nvPr/>
          </p:nvSpPr>
          <p:spPr>
            <a:xfrm>
              <a:off x="7733233" y="4737065"/>
              <a:ext cx="476250" cy="704850"/>
            </a:xfrm>
            <a:custGeom>
              <a:avLst/>
              <a:gdLst>
                <a:gd name="connsiteX0" fmla="*/ 123940 w 476250"/>
                <a:gd name="connsiteY0" fmla="*/ 704202 h 704850"/>
                <a:gd name="connsiteX1" fmla="*/ 360255 w 476250"/>
                <a:gd name="connsiteY1" fmla="*/ 704202 h 704850"/>
                <a:gd name="connsiteX2" fmla="*/ 360255 w 476250"/>
                <a:gd name="connsiteY2" fmla="*/ 653806 h 704850"/>
                <a:gd name="connsiteX3" fmla="*/ 300685 w 476250"/>
                <a:gd name="connsiteY3" fmla="*/ 590674 h 704850"/>
                <a:gd name="connsiteX4" fmla="*/ 300685 w 476250"/>
                <a:gd name="connsiteY4" fmla="*/ 84039 h 704850"/>
                <a:gd name="connsiteX5" fmla="*/ 306867 w 476250"/>
                <a:gd name="connsiteY5" fmla="*/ 83925 h 704850"/>
                <a:gd name="connsiteX6" fmla="*/ 310620 w 476250"/>
                <a:gd name="connsiteY6" fmla="*/ 83753 h 704850"/>
                <a:gd name="connsiteX7" fmla="*/ 422138 w 476250"/>
                <a:gd name="connsiteY7" fmla="*/ 223971 h 704850"/>
                <a:gd name="connsiteX8" fmla="*/ 477060 w 476250"/>
                <a:gd name="connsiteY8" fmla="*/ 196768 h 704850"/>
                <a:gd name="connsiteX9" fmla="*/ 430139 w 476250"/>
                <a:gd name="connsiteY9" fmla="*/ 7144 h 704850"/>
                <a:gd name="connsiteX10" fmla="*/ 53950 w 476250"/>
                <a:gd name="connsiteY10" fmla="*/ 7144 h 704850"/>
                <a:gd name="connsiteX11" fmla="*/ 7144 w 476250"/>
                <a:gd name="connsiteY11" fmla="*/ 196653 h 704850"/>
                <a:gd name="connsiteX12" fmla="*/ 62112 w 476250"/>
                <a:gd name="connsiteY12" fmla="*/ 223971 h 704850"/>
                <a:gd name="connsiteX13" fmla="*/ 173622 w 476250"/>
                <a:gd name="connsiteY13" fmla="*/ 83753 h 704850"/>
                <a:gd name="connsiteX14" fmla="*/ 177641 w 476250"/>
                <a:gd name="connsiteY14" fmla="*/ 83925 h 704850"/>
                <a:gd name="connsiteX15" fmla="*/ 183347 w 476250"/>
                <a:gd name="connsiteY15" fmla="*/ 84039 h 704850"/>
                <a:gd name="connsiteX16" fmla="*/ 183347 w 476250"/>
                <a:gd name="connsiteY16" fmla="*/ 590674 h 704850"/>
                <a:gd name="connsiteX17" fmla="*/ 123949 w 476250"/>
                <a:gd name="connsiteY17" fmla="*/ 653806 h 704850"/>
                <a:gd name="connsiteX18" fmla="*/ 123949 w 476250"/>
                <a:gd name="connsiteY18" fmla="*/ 704202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76250" h="704850">
                  <a:moveTo>
                    <a:pt x="123940" y="704202"/>
                  </a:moveTo>
                  <a:lnTo>
                    <a:pt x="360255" y="704202"/>
                  </a:lnTo>
                  <a:lnTo>
                    <a:pt x="360255" y="653806"/>
                  </a:lnTo>
                  <a:cubicBezTo>
                    <a:pt x="327117" y="651605"/>
                    <a:pt x="300685" y="624116"/>
                    <a:pt x="300685" y="590674"/>
                  </a:cubicBezTo>
                  <a:lnTo>
                    <a:pt x="300685" y="84039"/>
                  </a:lnTo>
                  <a:lnTo>
                    <a:pt x="306867" y="83925"/>
                  </a:lnTo>
                  <a:cubicBezTo>
                    <a:pt x="307905" y="83925"/>
                    <a:pt x="309124" y="83753"/>
                    <a:pt x="310620" y="83753"/>
                  </a:cubicBezTo>
                  <a:cubicBezTo>
                    <a:pt x="347339" y="83753"/>
                    <a:pt x="383762" y="129683"/>
                    <a:pt x="422138" y="223971"/>
                  </a:cubicBezTo>
                  <a:lnTo>
                    <a:pt x="477060" y="196768"/>
                  </a:lnTo>
                  <a:lnTo>
                    <a:pt x="430139" y="7144"/>
                  </a:lnTo>
                  <a:lnTo>
                    <a:pt x="53950" y="7144"/>
                  </a:lnTo>
                  <a:lnTo>
                    <a:pt x="7144" y="196653"/>
                  </a:lnTo>
                  <a:lnTo>
                    <a:pt x="62112" y="223971"/>
                  </a:lnTo>
                  <a:cubicBezTo>
                    <a:pt x="100269" y="129683"/>
                    <a:pt x="136731" y="83753"/>
                    <a:pt x="173622" y="83753"/>
                  </a:cubicBezTo>
                  <a:cubicBezTo>
                    <a:pt x="175117" y="83753"/>
                    <a:pt x="176336" y="83925"/>
                    <a:pt x="177641" y="83925"/>
                  </a:cubicBezTo>
                  <a:lnTo>
                    <a:pt x="183347" y="84039"/>
                  </a:lnTo>
                  <a:lnTo>
                    <a:pt x="183347" y="590674"/>
                  </a:lnTo>
                  <a:cubicBezTo>
                    <a:pt x="183347" y="624116"/>
                    <a:pt x="157163" y="651605"/>
                    <a:pt x="123949" y="653806"/>
                  </a:cubicBezTo>
                  <a:lnTo>
                    <a:pt x="123949" y="70420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18">
              <a:extLst>
                <a:ext uri="{FF2B5EF4-FFF2-40B4-BE49-F238E27FC236}">
                  <a16:creationId xmlns:a16="http://schemas.microsoft.com/office/drawing/2014/main" id="{A36C8B70-E45A-4697-AFA4-D7540A60C885}"/>
                </a:ext>
              </a:extLst>
            </p:cNvPr>
            <p:cNvSpPr/>
            <p:nvPr/>
          </p:nvSpPr>
          <p:spPr>
            <a:xfrm>
              <a:off x="6743662" y="4737256"/>
              <a:ext cx="504825" cy="714375"/>
            </a:xfrm>
            <a:custGeom>
              <a:avLst/>
              <a:gdLst>
                <a:gd name="connsiteX0" fmla="*/ 7144 w 504825"/>
                <a:gd name="connsiteY0" fmla="*/ 56769 h 714375"/>
                <a:gd name="connsiteX1" fmla="*/ 66485 w 504825"/>
                <a:gd name="connsiteY1" fmla="*/ 119253 h 714375"/>
                <a:gd name="connsiteX2" fmla="*/ 66485 w 504825"/>
                <a:gd name="connsiteY2" fmla="*/ 446808 h 714375"/>
                <a:gd name="connsiteX3" fmla="*/ 117700 w 504825"/>
                <a:gd name="connsiteY3" fmla="*/ 658597 h 714375"/>
                <a:gd name="connsiteX4" fmla="*/ 261166 w 504825"/>
                <a:gd name="connsiteY4" fmla="*/ 715289 h 714375"/>
                <a:gd name="connsiteX5" fmla="*/ 413137 w 504825"/>
                <a:gd name="connsiteY5" fmla="*/ 646166 h 714375"/>
                <a:gd name="connsiteX6" fmla="*/ 446275 w 504825"/>
                <a:gd name="connsiteY6" fmla="*/ 463010 h 714375"/>
                <a:gd name="connsiteX7" fmla="*/ 445818 w 504825"/>
                <a:gd name="connsiteY7" fmla="*/ 424815 h 714375"/>
                <a:gd name="connsiteX8" fmla="*/ 445818 w 504825"/>
                <a:gd name="connsiteY8" fmla="*/ 165068 h 714375"/>
                <a:gd name="connsiteX9" fmla="*/ 503015 w 504825"/>
                <a:gd name="connsiteY9" fmla="*/ 57140 h 714375"/>
                <a:gd name="connsiteX10" fmla="*/ 503015 w 504825"/>
                <a:gd name="connsiteY10" fmla="*/ 7144 h 714375"/>
                <a:gd name="connsiteX11" fmla="*/ 312353 w 504825"/>
                <a:gd name="connsiteY11" fmla="*/ 7144 h 714375"/>
                <a:gd name="connsiteX12" fmla="*/ 312353 w 504825"/>
                <a:gd name="connsiteY12" fmla="*/ 56769 h 714375"/>
                <a:gd name="connsiteX13" fmla="*/ 313849 w 504825"/>
                <a:gd name="connsiteY13" fmla="*/ 56769 h 714375"/>
                <a:gd name="connsiteX14" fmla="*/ 367484 w 504825"/>
                <a:gd name="connsiteY14" fmla="*/ 85239 h 714375"/>
                <a:gd name="connsiteX15" fmla="*/ 375990 w 504825"/>
                <a:gd name="connsiteY15" fmla="*/ 157553 h 714375"/>
                <a:gd name="connsiteX16" fmla="*/ 375990 w 504825"/>
                <a:gd name="connsiteY16" fmla="*/ 163906 h 714375"/>
                <a:gd name="connsiteX17" fmla="*/ 375990 w 504825"/>
                <a:gd name="connsiteY17" fmla="*/ 460524 h 714375"/>
                <a:gd name="connsiteX18" fmla="*/ 352520 w 504825"/>
                <a:gd name="connsiteY18" fmla="*/ 596675 h 714375"/>
                <a:gd name="connsiteX19" fmla="*/ 274644 w 504825"/>
                <a:gd name="connsiteY19" fmla="*/ 641642 h 714375"/>
                <a:gd name="connsiteX20" fmla="*/ 194272 w 504825"/>
                <a:gd name="connsiteY20" fmla="*/ 605714 h 714375"/>
                <a:gd name="connsiteX21" fmla="*/ 181337 w 504825"/>
                <a:gd name="connsiteY21" fmla="*/ 512645 h 714375"/>
                <a:gd name="connsiteX22" fmla="*/ 181851 w 504825"/>
                <a:gd name="connsiteY22" fmla="*/ 451999 h 714375"/>
                <a:gd name="connsiteX23" fmla="*/ 181851 w 504825"/>
                <a:gd name="connsiteY23" fmla="*/ 119253 h 714375"/>
                <a:gd name="connsiteX24" fmla="*/ 240516 w 504825"/>
                <a:gd name="connsiteY24" fmla="*/ 56769 h 714375"/>
                <a:gd name="connsiteX25" fmla="*/ 240516 w 504825"/>
                <a:gd name="connsiteY25" fmla="*/ 7144 h 714375"/>
                <a:gd name="connsiteX26" fmla="*/ 7144 w 504825"/>
                <a:gd name="connsiteY26" fmla="*/ 7144 h 714375"/>
                <a:gd name="connsiteX27" fmla="*/ 7144 w 504825"/>
                <a:gd name="connsiteY27" fmla="*/ 56769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04825" h="714375">
                  <a:moveTo>
                    <a:pt x="7144" y="56769"/>
                  </a:moveTo>
                  <a:cubicBezTo>
                    <a:pt x="40110" y="58969"/>
                    <a:pt x="66485" y="86058"/>
                    <a:pt x="66485" y="119253"/>
                  </a:cubicBezTo>
                  <a:lnTo>
                    <a:pt x="66485" y="446808"/>
                  </a:lnTo>
                  <a:cubicBezTo>
                    <a:pt x="64875" y="536600"/>
                    <a:pt x="67761" y="604228"/>
                    <a:pt x="117700" y="658597"/>
                  </a:cubicBezTo>
                  <a:cubicBezTo>
                    <a:pt x="160915" y="705517"/>
                    <a:pt x="219503" y="715289"/>
                    <a:pt x="261166" y="715289"/>
                  </a:cubicBezTo>
                  <a:cubicBezTo>
                    <a:pt x="327346" y="715289"/>
                    <a:pt x="378705" y="692039"/>
                    <a:pt x="413137" y="646166"/>
                  </a:cubicBezTo>
                  <a:cubicBezTo>
                    <a:pt x="449056" y="597494"/>
                    <a:pt x="447532" y="529114"/>
                    <a:pt x="446275" y="463010"/>
                  </a:cubicBezTo>
                  <a:cubicBezTo>
                    <a:pt x="446046" y="450275"/>
                    <a:pt x="445818" y="437302"/>
                    <a:pt x="445818" y="424815"/>
                  </a:cubicBezTo>
                  <a:lnTo>
                    <a:pt x="445818" y="165068"/>
                  </a:lnTo>
                  <a:cubicBezTo>
                    <a:pt x="445818" y="93459"/>
                    <a:pt x="445818" y="65865"/>
                    <a:pt x="503015" y="57140"/>
                  </a:cubicBezTo>
                  <a:lnTo>
                    <a:pt x="503015" y="7144"/>
                  </a:lnTo>
                  <a:lnTo>
                    <a:pt x="312353" y="7144"/>
                  </a:lnTo>
                  <a:lnTo>
                    <a:pt x="312353" y="56769"/>
                  </a:lnTo>
                  <a:lnTo>
                    <a:pt x="313849" y="56769"/>
                  </a:lnTo>
                  <a:cubicBezTo>
                    <a:pt x="330289" y="59198"/>
                    <a:pt x="357997" y="66094"/>
                    <a:pt x="367484" y="85239"/>
                  </a:cubicBezTo>
                  <a:cubicBezTo>
                    <a:pt x="376218" y="102413"/>
                    <a:pt x="375990" y="135741"/>
                    <a:pt x="375990" y="157553"/>
                  </a:cubicBezTo>
                  <a:lnTo>
                    <a:pt x="375990" y="163906"/>
                  </a:lnTo>
                  <a:lnTo>
                    <a:pt x="375990" y="460524"/>
                  </a:lnTo>
                  <a:cubicBezTo>
                    <a:pt x="375990" y="505406"/>
                    <a:pt x="375990" y="561061"/>
                    <a:pt x="352520" y="596675"/>
                  </a:cubicBezTo>
                  <a:cubicBezTo>
                    <a:pt x="333365" y="626135"/>
                    <a:pt x="306334" y="641642"/>
                    <a:pt x="274644" y="641642"/>
                  </a:cubicBezTo>
                  <a:cubicBezTo>
                    <a:pt x="224247" y="641642"/>
                    <a:pt x="200073" y="618144"/>
                    <a:pt x="194272" y="605714"/>
                  </a:cubicBezTo>
                  <a:cubicBezTo>
                    <a:pt x="180575" y="576786"/>
                    <a:pt x="180575" y="569500"/>
                    <a:pt x="181337" y="512645"/>
                  </a:cubicBezTo>
                  <a:cubicBezTo>
                    <a:pt x="181566" y="496910"/>
                    <a:pt x="181851" y="476993"/>
                    <a:pt x="181851" y="451999"/>
                  </a:cubicBezTo>
                  <a:lnTo>
                    <a:pt x="181851" y="119253"/>
                  </a:lnTo>
                  <a:cubicBezTo>
                    <a:pt x="181851" y="86068"/>
                    <a:pt x="207759" y="58969"/>
                    <a:pt x="240516" y="56769"/>
                  </a:cubicBezTo>
                  <a:lnTo>
                    <a:pt x="240516" y="7144"/>
                  </a:lnTo>
                  <a:lnTo>
                    <a:pt x="7144" y="7144"/>
                  </a:lnTo>
                  <a:lnTo>
                    <a:pt x="7144" y="5676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19">
              <a:extLst>
                <a:ext uri="{FF2B5EF4-FFF2-40B4-BE49-F238E27FC236}">
                  <a16:creationId xmlns:a16="http://schemas.microsoft.com/office/drawing/2014/main" id="{EDBF84C4-1FA0-4536-981F-264289AA614D}"/>
                </a:ext>
              </a:extLst>
            </p:cNvPr>
            <p:cNvSpPr/>
            <p:nvPr/>
          </p:nvSpPr>
          <p:spPr>
            <a:xfrm>
              <a:off x="6214453" y="4736341"/>
              <a:ext cx="533400" cy="704850"/>
            </a:xfrm>
            <a:custGeom>
              <a:avLst/>
              <a:gdLst>
                <a:gd name="connsiteX0" fmla="*/ 311305 w 533400"/>
                <a:gd name="connsiteY0" fmla="*/ 398507 h 704850"/>
                <a:gd name="connsiteX1" fmla="*/ 207778 w 533400"/>
                <a:gd name="connsiteY1" fmla="*/ 398507 h 704850"/>
                <a:gd name="connsiteX2" fmla="*/ 259413 w 533400"/>
                <a:gd name="connsiteY2" fmla="*/ 199901 h 704850"/>
                <a:gd name="connsiteX3" fmla="*/ 311305 w 533400"/>
                <a:gd name="connsiteY3" fmla="*/ 398507 h 704850"/>
                <a:gd name="connsiteX4" fmla="*/ 304838 w 533400"/>
                <a:gd name="connsiteY4" fmla="*/ 703974 h 704850"/>
                <a:gd name="connsiteX5" fmla="*/ 527685 w 533400"/>
                <a:gd name="connsiteY5" fmla="*/ 703974 h 704850"/>
                <a:gd name="connsiteX6" fmla="*/ 527685 w 533400"/>
                <a:gd name="connsiteY6" fmla="*/ 652815 h 704850"/>
                <a:gd name="connsiteX7" fmla="*/ 492795 w 533400"/>
                <a:gd name="connsiteY7" fmla="*/ 609876 h 704850"/>
                <a:gd name="connsiteX8" fmla="*/ 333061 w 533400"/>
                <a:gd name="connsiteY8" fmla="*/ 7144 h 704850"/>
                <a:gd name="connsiteX9" fmla="*/ 220046 w 533400"/>
                <a:gd name="connsiteY9" fmla="*/ 7144 h 704850"/>
                <a:gd name="connsiteX10" fmla="*/ 65503 w 533400"/>
                <a:gd name="connsiteY10" fmla="*/ 592703 h 704850"/>
                <a:gd name="connsiteX11" fmla="*/ 7144 w 533400"/>
                <a:gd name="connsiteY11" fmla="*/ 654253 h 704850"/>
                <a:gd name="connsiteX12" fmla="*/ 7144 w 533400"/>
                <a:gd name="connsiteY12" fmla="*/ 703974 h 704850"/>
                <a:gd name="connsiteX13" fmla="*/ 214027 w 533400"/>
                <a:gd name="connsiteY13" fmla="*/ 703974 h 704850"/>
                <a:gd name="connsiteX14" fmla="*/ 214027 w 533400"/>
                <a:gd name="connsiteY14" fmla="*/ 654253 h 704850"/>
                <a:gd name="connsiteX15" fmla="*/ 166573 w 533400"/>
                <a:gd name="connsiteY15" fmla="*/ 629793 h 704850"/>
                <a:gd name="connsiteX16" fmla="*/ 155648 w 533400"/>
                <a:gd name="connsiteY16" fmla="*/ 591150 h 704850"/>
                <a:gd name="connsiteX17" fmla="*/ 190767 w 533400"/>
                <a:gd name="connsiteY17" fmla="*/ 464182 h 704850"/>
                <a:gd name="connsiteX18" fmla="*/ 328289 w 533400"/>
                <a:gd name="connsiteY18" fmla="*/ 464182 h 704850"/>
                <a:gd name="connsiteX19" fmla="*/ 363236 w 533400"/>
                <a:gd name="connsiteY19" fmla="*/ 590702 h 704850"/>
                <a:gd name="connsiteX20" fmla="*/ 352530 w 533400"/>
                <a:gd name="connsiteY20" fmla="*/ 629793 h 704850"/>
                <a:gd name="connsiteX21" fmla="*/ 304848 w 533400"/>
                <a:gd name="connsiteY21" fmla="*/ 654253 h 704850"/>
                <a:gd name="connsiteX22" fmla="*/ 304848 w 533400"/>
                <a:gd name="connsiteY22" fmla="*/ 703974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33400" h="704850">
                  <a:moveTo>
                    <a:pt x="311305" y="398507"/>
                  </a:moveTo>
                  <a:lnTo>
                    <a:pt x="207778" y="398507"/>
                  </a:lnTo>
                  <a:lnTo>
                    <a:pt x="259413" y="199901"/>
                  </a:lnTo>
                  <a:lnTo>
                    <a:pt x="311305" y="398507"/>
                  </a:lnTo>
                  <a:close/>
                  <a:moveTo>
                    <a:pt x="304838" y="703974"/>
                  </a:moveTo>
                  <a:lnTo>
                    <a:pt x="527685" y="703974"/>
                  </a:lnTo>
                  <a:lnTo>
                    <a:pt x="527685" y="652815"/>
                  </a:lnTo>
                  <a:cubicBezTo>
                    <a:pt x="510445" y="644080"/>
                    <a:pt x="497939" y="628583"/>
                    <a:pt x="492795" y="609876"/>
                  </a:cubicBezTo>
                  <a:lnTo>
                    <a:pt x="333061" y="7144"/>
                  </a:lnTo>
                  <a:lnTo>
                    <a:pt x="220046" y="7144"/>
                  </a:lnTo>
                  <a:lnTo>
                    <a:pt x="65503" y="592703"/>
                  </a:lnTo>
                  <a:cubicBezTo>
                    <a:pt x="61522" y="606885"/>
                    <a:pt x="46320" y="651539"/>
                    <a:pt x="7144" y="654253"/>
                  </a:cubicBezTo>
                  <a:lnTo>
                    <a:pt x="7144" y="703974"/>
                  </a:lnTo>
                  <a:lnTo>
                    <a:pt x="214027" y="703974"/>
                  </a:lnTo>
                  <a:lnTo>
                    <a:pt x="214027" y="654253"/>
                  </a:lnTo>
                  <a:cubicBezTo>
                    <a:pt x="196091" y="653044"/>
                    <a:pt x="178098" y="643804"/>
                    <a:pt x="166573" y="629793"/>
                  </a:cubicBezTo>
                  <a:cubicBezTo>
                    <a:pt x="156858" y="618096"/>
                    <a:pt x="153105" y="604399"/>
                    <a:pt x="155648" y="591150"/>
                  </a:cubicBezTo>
                  <a:lnTo>
                    <a:pt x="190767" y="464182"/>
                  </a:lnTo>
                  <a:lnTo>
                    <a:pt x="328289" y="464182"/>
                  </a:lnTo>
                  <a:lnTo>
                    <a:pt x="363236" y="590702"/>
                  </a:lnTo>
                  <a:cubicBezTo>
                    <a:pt x="366227" y="604399"/>
                    <a:pt x="362245" y="618096"/>
                    <a:pt x="352530" y="629793"/>
                  </a:cubicBezTo>
                  <a:cubicBezTo>
                    <a:pt x="341004" y="643804"/>
                    <a:pt x="323012" y="653034"/>
                    <a:pt x="304848" y="654253"/>
                  </a:cubicBezTo>
                  <a:lnTo>
                    <a:pt x="304848" y="70397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0">
              <a:extLst>
                <a:ext uri="{FF2B5EF4-FFF2-40B4-BE49-F238E27FC236}">
                  <a16:creationId xmlns:a16="http://schemas.microsoft.com/office/drawing/2014/main" id="{CF5D1B88-233F-4AD8-B4A4-05538FF97FCB}"/>
                </a:ext>
              </a:extLst>
            </p:cNvPr>
            <p:cNvSpPr/>
            <p:nvPr/>
          </p:nvSpPr>
          <p:spPr>
            <a:xfrm>
              <a:off x="7303589" y="4725102"/>
              <a:ext cx="409575" cy="733425"/>
            </a:xfrm>
            <a:custGeom>
              <a:avLst/>
              <a:gdLst>
                <a:gd name="connsiteX0" fmla="*/ 116719 w 409575"/>
                <a:gd name="connsiteY0" fmla="*/ 692220 h 733425"/>
                <a:gd name="connsiteX1" fmla="*/ 120758 w 409575"/>
                <a:gd name="connsiteY1" fmla="*/ 695268 h 733425"/>
                <a:gd name="connsiteX2" fmla="*/ 216741 w 409575"/>
                <a:gd name="connsiteY2" fmla="*/ 727158 h 733425"/>
                <a:gd name="connsiteX3" fmla="*/ 218541 w 409575"/>
                <a:gd name="connsiteY3" fmla="*/ 727158 h 733425"/>
                <a:gd name="connsiteX4" fmla="*/ 403698 w 409575"/>
                <a:gd name="connsiteY4" fmla="*/ 496329 h 733425"/>
                <a:gd name="connsiteX5" fmla="*/ 233734 w 409575"/>
                <a:gd name="connsiteY5" fmla="*/ 288369 h 733425"/>
                <a:gd name="connsiteX6" fmla="*/ 111509 w 409575"/>
                <a:gd name="connsiteY6" fmla="*/ 172364 h 733425"/>
                <a:gd name="connsiteX7" fmla="*/ 179584 w 409575"/>
                <a:gd name="connsiteY7" fmla="*/ 81486 h 733425"/>
                <a:gd name="connsiteX8" fmla="*/ 317030 w 409575"/>
                <a:gd name="connsiteY8" fmla="*/ 225828 h 733425"/>
                <a:gd name="connsiteX9" fmla="*/ 361245 w 409575"/>
                <a:gd name="connsiteY9" fmla="*/ 200435 h 733425"/>
                <a:gd name="connsiteX10" fmla="*/ 328031 w 409575"/>
                <a:gd name="connsiteY10" fmla="*/ 23746 h 733425"/>
                <a:gd name="connsiteX11" fmla="*/ 272434 w 409575"/>
                <a:gd name="connsiteY11" fmla="*/ 23746 h 733425"/>
                <a:gd name="connsiteX12" fmla="*/ 262433 w 409575"/>
                <a:gd name="connsiteY12" fmla="*/ 47587 h 733425"/>
                <a:gd name="connsiteX13" fmla="*/ 258146 w 409575"/>
                <a:gd name="connsiteY13" fmla="*/ 44453 h 733425"/>
                <a:gd name="connsiteX14" fmla="*/ 162410 w 409575"/>
                <a:gd name="connsiteY14" fmla="*/ 7144 h 733425"/>
                <a:gd name="connsiteX15" fmla="*/ 7144 w 409575"/>
                <a:gd name="connsiteY15" fmla="*/ 207778 h 733425"/>
                <a:gd name="connsiteX16" fmla="*/ 177108 w 409575"/>
                <a:gd name="connsiteY16" fmla="*/ 412737 h 733425"/>
                <a:gd name="connsiteX17" fmla="*/ 304105 w 409575"/>
                <a:gd name="connsiteY17" fmla="*/ 536772 h 733425"/>
                <a:gd name="connsiteX18" fmla="*/ 207521 w 409575"/>
                <a:gd name="connsiteY18" fmla="*/ 651767 h 733425"/>
                <a:gd name="connsiteX19" fmla="*/ 206311 w 409575"/>
                <a:gd name="connsiteY19" fmla="*/ 651767 h 733425"/>
                <a:gd name="connsiteX20" fmla="*/ 58579 w 409575"/>
                <a:gd name="connsiteY20" fmla="*/ 463420 h 733425"/>
                <a:gd name="connsiteX21" fmla="*/ 7363 w 409575"/>
                <a:gd name="connsiteY21" fmla="*/ 492624 h 733425"/>
                <a:gd name="connsiteX22" fmla="*/ 50578 w 409575"/>
                <a:gd name="connsiteY22" fmla="*/ 716166 h 733425"/>
                <a:gd name="connsiteX23" fmla="*/ 106480 w 409575"/>
                <a:gd name="connsiteY23" fmla="*/ 716166 h 733425"/>
                <a:gd name="connsiteX24" fmla="*/ 116719 w 409575"/>
                <a:gd name="connsiteY24" fmla="*/ 69222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09575" h="733425">
                  <a:moveTo>
                    <a:pt x="116719" y="692220"/>
                  </a:moveTo>
                  <a:lnTo>
                    <a:pt x="120758" y="695268"/>
                  </a:lnTo>
                  <a:cubicBezTo>
                    <a:pt x="145647" y="715404"/>
                    <a:pt x="180584" y="727158"/>
                    <a:pt x="216741" y="727158"/>
                  </a:cubicBezTo>
                  <a:lnTo>
                    <a:pt x="218541" y="727158"/>
                  </a:lnTo>
                  <a:cubicBezTo>
                    <a:pt x="237439" y="727158"/>
                    <a:pt x="403698" y="720661"/>
                    <a:pt x="403698" y="496329"/>
                  </a:cubicBezTo>
                  <a:cubicBezTo>
                    <a:pt x="403698" y="338795"/>
                    <a:pt x="313506" y="311963"/>
                    <a:pt x="233734" y="288369"/>
                  </a:cubicBezTo>
                  <a:cubicBezTo>
                    <a:pt x="170850" y="269672"/>
                    <a:pt x="111509" y="252070"/>
                    <a:pt x="111509" y="172364"/>
                  </a:cubicBezTo>
                  <a:cubicBezTo>
                    <a:pt x="111509" y="137246"/>
                    <a:pt x="129959" y="81486"/>
                    <a:pt x="179584" y="81486"/>
                  </a:cubicBezTo>
                  <a:cubicBezTo>
                    <a:pt x="241954" y="81486"/>
                    <a:pt x="275396" y="130016"/>
                    <a:pt x="317030" y="225828"/>
                  </a:cubicBezTo>
                  <a:lnTo>
                    <a:pt x="361245" y="200435"/>
                  </a:lnTo>
                  <a:lnTo>
                    <a:pt x="328031" y="23746"/>
                  </a:lnTo>
                  <a:lnTo>
                    <a:pt x="272434" y="23746"/>
                  </a:lnTo>
                  <a:lnTo>
                    <a:pt x="262433" y="47587"/>
                  </a:lnTo>
                  <a:lnTo>
                    <a:pt x="258146" y="44453"/>
                  </a:lnTo>
                  <a:cubicBezTo>
                    <a:pt x="229219" y="21155"/>
                    <a:pt x="193320" y="7144"/>
                    <a:pt x="162410" y="7144"/>
                  </a:cubicBezTo>
                  <a:cubicBezTo>
                    <a:pt x="47882" y="7144"/>
                    <a:pt x="7144" y="110871"/>
                    <a:pt x="7144" y="207778"/>
                  </a:cubicBezTo>
                  <a:cubicBezTo>
                    <a:pt x="7144" y="353501"/>
                    <a:pt x="97498" y="385020"/>
                    <a:pt x="177108" y="412737"/>
                  </a:cubicBezTo>
                  <a:cubicBezTo>
                    <a:pt x="242459" y="435645"/>
                    <a:pt x="304105" y="456971"/>
                    <a:pt x="304105" y="536772"/>
                  </a:cubicBezTo>
                  <a:cubicBezTo>
                    <a:pt x="304105" y="648824"/>
                    <a:pt x="217275" y="651767"/>
                    <a:pt x="207521" y="651767"/>
                  </a:cubicBezTo>
                  <a:lnTo>
                    <a:pt x="206311" y="651767"/>
                  </a:lnTo>
                  <a:cubicBezTo>
                    <a:pt x="145695" y="651767"/>
                    <a:pt x="112243" y="609429"/>
                    <a:pt x="58579" y="463420"/>
                  </a:cubicBezTo>
                  <a:lnTo>
                    <a:pt x="7363" y="492624"/>
                  </a:lnTo>
                  <a:lnTo>
                    <a:pt x="50578" y="716166"/>
                  </a:lnTo>
                  <a:lnTo>
                    <a:pt x="106480" y="716166"/>
                  </a:lnTo>
                  <a:lnTo>
                    <a:pt x="116719" y="69222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1">
              <a:extLst>
                <a:ext uri="{FF2B5EF4-FFF2-40B4-BE49-F238E27FC236}">
                  <a16:creationId xmlns:a16="http://schemas.microsoft.com/office/drawing/2014/main" id="{B2A2F89B-F989-40B5-89C0-114BAAFB8F29}"/>
                </a:ext>
              </a:extLst>
            </p:cNvPr>
            <p:cNvSpPr/>
            <p:nvPr/>
          </p:nvSpPr>
          <p:spPr>
            <a:xfrm>
              <a:off x="8804510" y="4736494"/>
              <a:ext cx="247650" cy="704850"/>
            </a:xfrm>
            <a:custGeom>
              <a:avLst/>
              <a:gdLst>
                <a:gd name="connsiteX0" fmla="*/ 7144 w 247650"/>
                <a:gd name="connsiteY0" fmla="*/ 704488 h 704850"/>
                <a:gd name="connsiteX1" fmla="*/ 240697 w 247650"/>
                <a:gd name="connsiteY1" fmla="*/ 704488 h 704850"/>
                <a:gd name="connsiteX2" fmla="*/ 240697 w 247650"/>
                <a:gd name="connsiteY2" fmla="*/ 654634 h 704850"/>
                <a:gd name="connsiteX3" fmla="*/ 182033 w 247650"/>
                <a:gd name="connsiteY3" fmla="*/ 592465 h 704850"/>
                <a:gd name="connsiteX4" fmla="*/ 182033 w 247650"/>
                <a:gd name="connsiteY4" fmla="*/ 119253 h 704850"/>
                <a:gd name="connsiteX5" fmla="*/ 240697 w 247650"/>
                <a:gd name="connsiteY5" fmla="*/ 56769 h 704850"/>
                <a:gd name="connsiteX6" fmla="*/ 240697 w 247650"/>
                <a:gd name="connsiteY6" fmla="*/ 7144 h 704850"/>
                <a:gd name="connsiteX7" fmla="*/ 7144 w 247650"/>
                <a:gd name="connsiteY7" fmla="*/ 7144 h 704850"/>
                <a:gd name="connsiteX8" fmla="*/ 7144 w 247650"/>
                <a:gd name="connsiteY8" fmla="*/ 56769 h 704850"/>
                <a:gd name="connsiteX9" fmla="*/ 65618 w 247650"/>
                <a:gd name="connsiteY9" fmla="*/ 119253 h 704850"/>
                <a:gd name="connsiteX10" fmla="*/ 65618 w 247650"/>
                <a:gd name="connsiteY10" fmla="*/ 592474 h 704850"/>
                <a:gd name="connsiteX11" fmla="*/ 7144 w 247650"/>
                <a:gd name="connsiteY11" fmla="*/ 654644 h 704850"/>
                <a:gd name="connsiteX12" fmla="*/ 7144 w 247650"/>
                <a:gd name="connsiteY12" fmla="*/ 704488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7650" h="704850">
                  <a:moveTo>
                    <a:pt x="7144" y="704488"/>
                  </a:moveTo>
                  <a:lnTo>
                    <a:pt x="240697" y="704488"/>
                  </a:lnTo>
                  <a:lnTo>
                    <a:pt x="240697" y="654634"/>
                  </a:lnTo>
                  <a:cubicBezTo>
                    <a:pt x="208131" y="652682"/>
                    <a:pt x="182033" y="625478"/>
                    <a:pt x="182033" y="592465"/>
                  </a:cubicBezTo>
                  <a:lnTo>
                    <a:pt x="182033" y="119253"/>
                  </a:lnTo>
                  <a:cubicBezTo>
                    <a:pt x="182033" y="86096"/>
                    <a:pt x="208131" y="58807"/>
                    <a:pt x="240697" y="56769"/>
                  </a:cubicBezTo>
                  <a:lnTo>
                    <a:pt x="240697" y="7144"/>
                  </a:lnTo>
                  <a:lnTo>
                    <a:pt x="7144" y="7144"/>
                  </a:lnTo>
                  <a:lnTo>
                    <a:pt x="7144" y="56769"/>
                  </a:lnTo>
                  <a:cubicBezTo>
                    <a:pt x="39777" y="58798"/>
                    <a:pt x="65618" y="86087"/>
                    <a:pt x="65618" y="119253"/>
                  </a:cubicBezTo>
                  <a:lnTo>
                    <a:pt x="65618" y="592474"/>
                  </a:lnTo>
                  <a:cubicBezTo>
                    <a:pt x="65618" y="625497"/>
                    <a:pt x="39777" y="652701"/>
                    <a:pt x="7144" y="654644"/>
                  </a:cubicBezTo>
                  <a:lnTo>
                    <a:pt x="7144" y="70448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2">
              <a:extLst>
                <a:ext uri="{FF2B5EF4-FFF2-40B4-BE49-F238E27FC236}">
                  <a16:creationId xmlns:a16="http://schemas.microsoft.com/office/drawing/2014/main" id="{CFA5DBE1-2283-477E-9F48-8183432BD8DC}"/>
                </a:ext>
              </a:extLst>
            </p:cNvPr>
            <p:cNvSpPr/>
            <p:nvPr/>
          </p:nvSpPr>
          <p:spPr>
            <a:xfrm>
              <a:off x="9093813" y="4604229"/>
              <a:ext cx="628650" cy="838200"/>
            </a:xfrm>
            <a:custGeom>
              <a:avLst/>
              <a:gdLst>
                <a:gd name="connsiteX0" fmla="*/ 372999 w 628650"/>
                <a:gd name="connsiteY0" fmla="*/ 476841 h 838200"/>
                <a:gd name="connsiteX1" fmla="*/ 240687 w 628650"/>
                <a:gd name="connsiteY1" fmla="*/ 476841 h 838200"/>
                <a:gd name="connsiteX2" fmla="*/ 306924 w 628650"/>
                <a:gd name="connsiteY2" fmla="*/ 222247 h 838200"/>
                <a:gd name="connsiteX3" fmla="*/ 372999 w 628650"/>
                <a:gd name="connsiteY3" fmla="*/ 476841 h 838200"/>
                <a:gd name="connsiteX4" fmla="*/ 364550 w 628650"/>
                <a:gd name="connsiteY4" fmla="*/ 836752 h 838200"/>
                <a:gd name="connsiteX5" fmla="*/ 625383 w 628650"/>
                <a:gd name="connsiteY5" fmla="*/ 836752 h 838200"/>
                <a:gd name="connsiteX6" fmla="*/ 625383 w 628650"/>
                <a:gd name="connsiteY6" fmla="*/ 780660 h 838200"/>
                <a:gd name="connsiteX7" fmla="*/ 583806 w 628650"/>
                <a:gd name="connsiteY7" fmla="*/ 727777 h 838200"/>
                <a:gd name="connsiteX8" fmla="*/ 392601 w 628650"/>
                <a:gd name="connsiteY8" fmla="*/ 7144 h 838200"/>
                <a:gd name="connsiteX9" fmla="*/ 261880 w 628650"/>
                <a:gd name="connsiteY9" fmla="*/ 7144 h 838200"/>
                <a:gd name="connsiteX10" fmla="*/ 77085 w 628650"/>
                <a:gd name="connsiteY10" fmla="*/ 707527 h 838200"/>
                <a:gd name="connsiteX11" fmla="*/ 7144 w 628650"/>
                <a:gd name="connsiteY11" fmla="*/ 783136 h 838200"/>
                <a:gd name="connsiteX12" fmla="*/ 7144 w 628650"/>
                <a:gd name="connsiteY12" fmla="*/ 836743 h 838200"/>
                <a:gd name="connsiteX13" fmla="*/ 249193 w 628650"/>
                <a:gd name="connsiteY13" fmla="*/ 836743 h 838200"/>
                <a:gd name="connsiteX14" fmla="*/ 249193 w 628650"/>
                <a:gd name="connsiteY14" fmla="*/ 783374 h 838200"/>
                <a:gd name="connsiteX15" fmla="*/ 192786 w 628650"/>
                <a:gd name="connsiteY15" fmla="*/ 752951 h 838200"/>
                <a:gd name="connsiteX16" fmla="*/ 179032 w 628650"/>
                <a:gd name="connsiteY16" fmla="*/ 703831 h 838200"/>
                <a:gd name="connsiteX17" fmla="*/ 221970 w 628650"/>
                <a:gd name="connsiteY17" fmla="*/ 549097 h 838200"/>
                <a:gd name="connsiteX18" fmla="*/ 391620 w 628650"/>
                <a:gd name="connsiteY18" fmla="*/ 549097 h 838200"/>
                <a:gd name="connsiteX19" fmla="*/ 434559 w 628650"/>
                <a:gd name="connsiteY19" fmla="*/ 703269 h 838200"/>
                <a:gd name="connsiteX20" fmla="*/ 420862 w 628650"/>
                <a:gd name="connsiteY20" fmla="*/ 752961 h 838200"/>
                <a:gd name="connsiteX21" fmla="*/ 364569 w 628650"/>
                <a:gd name="connsiteY21" fmla="*/ 783384 h 838200"/>
                <a:gd name="connsiteX22" fmla="*/ 364569 w 628650"/>
                <a:gd name="connsiteY22" fmla="*/ 836752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650" h="838200">
                  <a:moveTo>
                    <a:pt x="372999" y="476841"/>
                  </a:moveTo>
                  <a:lnTo>
                    <a:pt x="240687" y="476841"/>
                  </a:lnTo>
                  <a:lnTo>
                    <a:pt x="306924" y="222247"/>
                  </a:lnTo>
                  <a:lnTo>
                    <a:pt x="372999" y="476841"/>
                  </a:lnTo>
                  <a:close/>
                  <a:moveTo>
                    <a:pt x="364550" y="836752"/>
                  </a:moveTo>
                  <a:lnTo>
                    <a:pt x="625383" y="836752"/>
                  </a:lnTo>
                  <a:lnTo>
                    <a:pt x="625383" y="780660"/>
                  </a:lnTo>
                  <a:cubicBezTo>
                    <a:pt x="604847" y="769439"/>
                    <a:pt x="589988" y="750465"/>
                    <a:pt x="583806" y="727777"/>
                  </a:cubicBezTo>
                  <a:lnTo>
                    <a:pt x="392601" y="7144"/>
                  </a:lnTo>
                  <a:lnTo>
                    <a:pt x="261880" y="7144"/>
                  </a:lnTo>
                  <a:lnTo>
                    <a:pt x="77085" y="707527"/>
                  </a:lnTo>
                  <a:cubicBezTo>
                    <a:pt x="64894" y="751675"/>
                    <a:pt x="39100" y="779164"/>
                    <a:pt x="7144" y="783136"/>
                  </a:cubicBezTo>
                  <a:lnTo>
                    <a:pt x="7144" y="836743"/>
                  </a:lnTo>
                  <a:lnTo>
                    <a:pt x="249193" y="836743"/>
                  </a:lnTo>
                  <a:lnTo>
                    <a:pt x="249193" y="783374"/>
                  </a:lnTo>
                  <a:cubicBezTo>
                    <a:pt x="227562" y="781117"/>
                    <a:pt x="206521" y="769896"/>
                    <a:pt x="192786" y="752951"/>
                  </a:cubicBezTo>
                  <a:cubicBezTo>
                    <a:pt x="180641" y="738207"/>
                    <a:pt x="175660" y="720776"/>
                    <a:pt x="179032" y="703831"/>
                  </a:cubicBezTo>
                  <a:lnTo>
                    <a:pt x="221970" y="549097"/>
                  </a:lnTo>
                  <a:lnTo>
                    <a:pt x="391620" y="549097"/>
                  </a:lnTo>
                  <a:lnTo>
                    <a:pt x="434559" y="703269"/>
                  </a:lnTo>
                  <a:cubicBezTo>
                    <a:pt x="438083" y="720785"/>
                    <a:pt x="433225" y="738207"/>
                    <a:pt x="420862" y="752961"/>
                  </a:cubicBezTo>
                  <a:cubicBezTo>
                    <a:pt x="407079" y="769906"/>
                    <a:pt x="386143" y="781126"/>
                    <a:pt x="364569" y="783384"/>
                  </a:cubicBezTo>
                  <a:lnTo>
                    <a:pt x="364569" y="83675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3">
              <a:extLst>
                <a:ext uri="{FF2B5EF4-FFF2-40B4-BE49-F238E27FC236}">
                  <a16:creationId xmlns:a16="http://schemas.microsoft.com/office/drawing/2014/main" id="{D2A46188-63BA-489E-87B4-B91F8CE856BF}"/>
                </a:ext>
              </a:extLst>
            </p:cNvPr>
            <p:cNvSpPr/>
            <p:nvPr/>
          </p:nvSpPr>
          <p:spPr>
            <a:xfrm>
              <a:off x="2469356" y="4581922"/>
              <a:ext cx="552450" cy="876300"/>
            </a:xfrm>
            <a:custGeom>
              <a:avLst/>
              <a:gdLst>
                <a:gd name="connsiteX0" fmla="*/ 296951 w 552450"/>
                <a:gd name="connsiteY0" fmla="*/ 7144 h 876300"/>
                <a:gd name="connsiteX1" fmla="*/ 7144 w 552450"/>
                <a:gd name="connsiteY1" fmla="*/ 439541 h 876300"/>
                <a:gd name="connsiteX2" fmla="*/ 296951 w 552450"/>
                <a:gd name="connsiteY2" fmla="*/ 872080 h 876300"/>
                <a:gd name="connsiteX3" fmla="*/ 553241 w 552450"/>
                <a:gd name="connsiteY3" fmla="*/ 641280 h 876300"/>
                <a:gd name="connsiteX4" fmla="*/ 486127 w 552450"/>
                <a:gd name="connsiteY4" fmla="*/ 588178 h 876300"/>
                <a:gd name="connsiteX5" fmla="*/ 317773 w 552450"/>
                <a:gd name="connsiteY5" fmla="*/ 781221 h 876300"/>
                <a:gd name="connsiteX6" fmla="*/ 150190 w 552450"/>
                <a:gd name="connsiteY6" fmla="*/ 439550 h 876300"/>
                <a:gd name="connsiteX7" fmla="*/ 317773 w 552450"/>
                <a:gd name="connsiteY7" fmla="*/ 97965 h 876300"/>
                <a:gd name="connsiteX8" fmla="*/ 475593 w 552450"/>
                <a:gd name="connsiteY8" fmla="*/ 322897 h 876300"/>
                <a:gd name="connsiteX9" fmla="*/ 535019 w 552450"/>
                <a:gd name="connsiteY9" fmla="*/ 286626 h 876300"/>
                <a:gd name="connsiteX10" fmla="*/ 485785 w 552450"/>
                <a:gd name="connsiteY10" fmla="*/ 26984 h 876300"/>
                <a:gd name="connsiteX11" fmla="*/ 428920 w 552450"/>
                <a:gd name="connsiteY11" fmla="*/ 26984 h 876300"/>
                <a:gd name="connsiteX12" fmla="*/ 416747 w 552450"/>
                <a:gd name="connsiteY12" fmla="*/ 55035 h 876300"/>
                <a:gd name="connsiteX13" fmla="*/ 412652 w 552450"/>
                <a:gd name="connsiteY13" fmla="*/ 51930 h 876300"/>
                <a:gd name="connsiteX14" fmla="*/ 296951 w 552450"/>
                <a:gd name="connsiteY14" fmla="*/ 7144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52450" h="876300">
                  <a:moveTo>
                    <a:pt x="296951" y="7144"/>
                  </a:moveTo>
                  <a:cubicBezTo>
                    <a:pt x="137112" y="7144"/>
                    <a:pt x="7144" y="201111"/>
                    <a:pt x="7144" y="439541"/>
                  </a:cubicBezTo>
                  <a:cubicBezTo>
                    <a:pt x="7144" y="677999"/>
                    <a:pt x="137112" y="872080"/>
                    <a:pt x="296951" y="872080"/>
                  </a:cubicBezTo>
                  <a:cubicBezTo>
                    <a:pt x="450418" y="872080"/>
                    <a:pt x="511064" y="761552"/>
                    <a:pt x="553241" y="641280"/>
                  </a:cubicBezTo>
                  <a:lnTo>
                    <a:pt x="486127" y="588178"/>
                  </a:lnTo>
                  <a:cubicBezTo>
                    <a:pt x="455762" y="700402"/>
                    <a:pt x="385658" y="781221"/>
                    <a:pt x="317773" y="781221"/>
                  </a:cubicBezTo>
                  <a:cubicBezTo>
                    <a:pt x="225352" y="781221"/>
                    <a:pt x="150190" y="628040"/>
                    <a:pt x="150190" y="439550"/>
                  </a:cubicBezTo>
                  <a:cubicBezTo>
                    <a:pt x="150190" y="251146"/>
                    <a:pt x="225352" y="97965"/>
                    <a:pt x="317773" y="97965"/>
                  </a:cubicBezTo>
                  <a:cubicBezTo>
                    <a:pt x="388868" y="97965"/>
                    <a:pt x="451942" y="188043"/>
                    <a:pt x="475593" y="322897"/>
                  </a:cubicBezTo>
                  <a:lnTo>
                    <a:pt x="535019" y="286626"/>
                  </a:lnTo>
                  <a:lnTo>
                    <a:pt x="485785" y="26984"/>
                  </a:lnTo>
                  <a:lnTo>
                    <a:pt x="428920" y="26984"/>
                  </a:lnTo>
                  <a:lnTo>
                    <a:pt x="416747" y="55035"/>
                  </a:lnTo>
                  <a:lnTo>
                    <a:pt x="412652" y="51930"/>
                  </a:lnTo>
                  <a:cubicBezTo>
                    <a:pt x="377885" y="23860"/>
                    <a:pt x="334604" y="7144"/>
                    <a:pt x="296951" y="7144"/>
                  </a:cubicBezTo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4">
              <a:extLst>
                <a:ext uri="{FF2B5EF4-FFF2-40B4-BE49-F238E27FC236}">
                  <a16:creationId xmlns:a16="http://schemas.microsoft.com/office/drawing/2014/main" id="{CA7179D3-E8D4-4F19-963A-72C725DFDC89}"/>
                </a:ext>
              </a:extLst>
            </p:cNvPr>
            <p:cNvSpPr/>
            <p:nvPr/>
          </p:nvSpPr>
          <p:spPr>
            <a:xfrm>
              <a:off x="4343610" y="4736494"/>
              <a:ext cx="514350" cy="704850"/>
            </a:xfrm>
            <a:custGeom>
              <a:avLst/>
              <a:gdLst>
                <a:gd name="connsiteX0" fmla="*/ 347243 w 514350"/>
                <a:gd name="connsiteY0" fmla="*/ 704488 h 704850"/>
                <a:gd name="connsiteX1" fmla="*/ 449580 w 514350"/>
                <a:gd name="connsiteY1" fmla="*/ 704488 h 704850"/>
                <a:gd name="connsiteX2" fmla="*/ 449580 w 514350"/>
                <a:gd name="connsiteY2" fmla="*/ 170802 h 704850"/>
                <a:gd name="connsiteX3" fmla="*/ 507425 w 514350"/>
                <a:gd name="connsiteY3" fmla="*/ 63017 h 704850"/>
                <a:gd name="connsiteX4" fmla="*/ 507425 w 514350"/>
                <a:gd name="connsiteY4" fmla="*/ 7144 h 704850"/>
                <a:gd name="connsiteX5" fmla="*/ 316925 w 514350"/>
                <a:gd name="connsiteY5" fmla="*/ 7144 h 704850"/>
                <a:gd name="connsiteX6" fmla="*/ 316925 w 514350"/>
                <a:gd name="connsiteY6" fmla="*/ 62513 h 704850"/>
                <a:gd name="connsiteX7" fmla="*/ 318364 w 514350"/>
                <a:gd name="connsiteY7" fmla="*/ 62513 h 704850"/>
                <a:gd name="connsiteX8" fmla="*/ 372066 w 514350"/>
                <a:gd name="connsiteY8" fmla="*/ 91097 h 704850"/>
                <a:gd name="connsiteX9" fmla="*/ 379628 w 514350"/>
                <a:gd name="connsiteY9" fmla="*/ 160839 h 704850"/>
                <a:gd name="connsiteX10" fmla="*/ 379628 w 514350"/>
                <a:gd name="connsiteY10" fmla="*/ 169821 h 704850"/>
                <a:gd name="connsiteX11" fmla="*/ 379628 w 514350"/>
                <a:gd name="connsiteY11" fmla="*/ 423081 h 704850"/>
                <a:gd name="connsiteX12" fmla="*/ 216960 w 514350"/>
                <a:gd name="connsiteY12" fmla="*/ 7144 h 704850"/>
                <a:gd name="connsiteX13" fmla="*/ 7144 w 514350"/>
                <a:gd name="connsiteY13" fmla="*/ 7144 h 704850"/>
                <a:gd name="connsiteX14" fmla="*/ 7144 w 514350"/>
                <a:gd name="connsiteY14" fmla="*/ 62513 h 704850"/>
                <a:gd name="connsiteX15" fmla="*/ 68980 w 514350"/>
                <a:gd name="connsiteY15" fmla="*/ 169231 h 704850"/>
                <a:gd name="connsiteX16" fmla="*/ 68980 w 514350"/>
                <a:gd name="connsiteY16" fmla="*/ 545849 h 704850"/>
                <a:gd name="connsiteX17" fmla="*/ 11582 w 514350"/>
                <a:gd name="connsiteY17" fmla="*/ 653606 h 704850"/>
                <a:gd name="connsiteX18" fmla="*/ 11582 w 514350"/>
                <a:gd name="connsiteY18" fmla="*/ 704507 h 704850"/>
                <a:gd name="connsiteX19" fmla="*/ 202101 w 514350"/>
                <a:gd name="connsiteY19" fmla="*/ 704507 h 704850"/>
                <a:gd name="connsiteX20" fmla="*/ 202101 w 514350"/>
                <a:gd name="connsiteY20" fmla="*/ 654148 h 704850"/>
                <a:gd name="connsiteX21" fmla="*/ 200577 w 514350"/>
                <a:gd name="connsiteY21" fmla="*/ 654148 h 704850"/>
                <a:gd name="connsiteX22" fmla="*/ 146961 w 514350"/>
                <a:gd name="connsiteY22" fmla="*/ 625735 h 704850"/>
                <a:gd name="connsiteX23" fmla="*/ 138970 w 514350"/>
                <a:gd name="connsiteY23" fmla="*/ 554584 h 704850"/>
                <a:gd name="connsiteX24" fmla="*/ 138970 w 514350"/>
                <a:gd name="connsiteY24" fmla="*/ 546897 h 704850"/>
                <a:gd name="connsiteX25" fmla="*/ 138970 w 514350"/>
                <a:gd name="connsiteY25" fmla="*/ 178032 h 704850"/>
                <a:gd name="connsiteX26" fmla="*/ 347243 w 514350"/>
                <a:gd name="connsiteY26" fmla="*/ 704488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704850">
                  <a:moveTo>
                    <a:pt x="347243" y="704488"/>
                  </a:moveTo>
                  <a:lnTo>
                    <a:pt x="449580" y="704488"/>
                  </a:lnTo>
                  <a:lnTo>
                    <a:pt x="449580" y="170802"/>
                  </a:lnTo>
                  <a:cubicBezTo>
                    <a:pt x="449580" y="94650"/>
                    <a:pt x="452009" y="71295"/>
                    <a:pt x="507425" y="63017"/>
                  </a:cubicBezTo>
                  <a:lnTo>
                    <a:pt x="507425" y="7144"/>
                  </a:lnTo>
                  <a:lnTo>
                    <a:pt x="316925" y="7144"/>
                  </a:lnTo>
                  <a:lnTo>
                    <a:pt x="316925" y="62513"/>
                  </a:lnTo>
                  <a:lnTo>
                    <a:pt x="318364" y="62513"/>
                  </a:lnTo>
                  <a:cubicBezTo>
                    <a:pt x="334604" y="64884"/>
                    <a:pt x="362455" y="71999"/>
                    <a:pt x="372066" y="91097"/>
                  </a:cubicBezTo>
                  <a:cubicBezTo>
                    <a:pt x="380257" y="107452"/>
                    <a:pt x="379857" y="138408"/>
                    <a:pt x="379628" y="160839"/>
                  </a:cubicBezTo>
                  <a:lnTo>
                    <a:pt x="379628" y="169821"/>
                  </a:lnTo>
                  <a:lnTo>
                    <a:pt x="379628" y="423081"/>
                  </a:lnTo>
                  <a:lnTo>
                    <a:pt x="216960" y="7144"/>
                  </a:lnTo>
                  <a:lnTo>
                    <a:pt x="7144" y="7144"/>
                  </a:lnTo>
                  <a:lnTo>
                    <a:pt x="7144" y="62513"/>
                  </a:lnTo>
                  <a:cubicBezTo>
                    <a:pt x="64113" y="71018"/>
                    <a:pt x="68980" y="96183"/>
                    <a:pt x="68980" y="169231"/>
                  </a:cubicBezTo>
                  <a:lnTo>
                    <a:pt x="68980" y="545849"/>
                  </a:lnTo>
                  <a:cubicBezTo>
                    <a:pt x="68980" y="617230"/>
                    <a:pt x="68980" y="644938"/>
                    <a:pt x="11582" y="653606"/>
                  </a:cubicBezTo>
                  <a:lnTo>
                    <a:pt x="11582" y="704507"/>
                  </a:lnTo>
                  <a:lnTo>
                    <a:pt x="202101" y="704507"/>
                  </a:lnTo>
                  <a:lnTo>
                    <a:pt x="202101" y="654148"/>
                  </a:lnTo>
                  <a:lnTo>
                    <a:pt x="200577" y="654148"/>
                  </a:lnTo>
                  <a:cubicBezTo>
                    <a:pt x="184337" y="651662"/>
                    <a:pt x="156562" y="644652"/>
                    <a:pt x="146961" y="625735"/>
                  </a:cubicBezTo>
                  <a:cubicBezTo>
                    <a:pt x="138627" y="608790"/>
                    <a:pt x="138855" y="577320"/>
                    <a:pt x="138970" y="554584"/>
                  </a:cubicBezTo>
                  <a:lnTo>
                    <a:pt x="138970" y="546897"/>
                  </a:lnTo>
                  <a:lnTo>
                    <a:pt x="138970" y="178032"/>
                  </a:lnTo>
                  <a:lnTo>
                    <a:pt x="347243" y="70448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25">
              <a:extLst>
                <a:ext uri="{FF2B5EF4-FFF2-40B4-BE49-F238E27FC236}">
                  <a16:creationId xmlns:a16="http://schemas.microsoft.com/office/drawing/2014/main" id="{32C22E15-7251-4B4F-8C22-5CE3C4DF6B0B}"/>
                </a:ext>
              </a:extLst>
            </p:cNvPr>
            <p:cNvSpPr/>
            <p:nvPr/>
          </p:nvSpPr>
          <p:spPr>
            <a:xfrm>
              <a:off x="2469413" y="5683888"/>
              <a:ext cx="7248525" cy="47625"/>
            </a:xfrm>
            <a:custGeom>
              <a:avLst/>
              <a:gdLst>
                <a:gd name="connsiteX0" fmla="*/ 7144 w 7248525"/>
                <a:gd name="connsiteY0" fmla="*/ 7144 h 47625"/>
                <a:gd name="connsiteX1" fmla="*/ 7249726 w 7248525"/>
                <a:gd name="connsiteY1" fmla="*/ 7144 h 47625"/>
                <a:gd name="connsiteX2" fmla="*/ 7249726 w 7248525"/>
                <a:gd name="connsiteY2" fmla="*/ 49054 h 47625"/>
                <a:gd name="connsiteX3" fmla="*/ 7144 w 7248525"/>
                <a:gd name="connsiteY3" fmla="*/ 4905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48525" h="47625">
                  <a:moveTo>
                    <a:pt x="7144" y="7144"/>
                  </a:moveTo>
                  <a:lnTo>
                    <a:pt x="7249726" y="7144"/>
                  </a:lnTo>
                  <a:lnTo>
                    <a:pt x="7249726" y="49054"/>
                  </a:lnTo>
                  <a:lnTo>
                    <a:pt x="7144" y="49054"/>
                  </a:lnTo>
                  <a:close/>
                </a:path>
              </a:pathLst>
            </a:custGeom>
            <a:solidFill>
              <a:srgbClr val="D600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17682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14963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5956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2091752"/>
            <a:ext cx="10964153" cy="15613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520" y="2410776"/>
            <a:ext cx="10111913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2"/>
                </a:solidFill>
              </a:defRPr>
            </a:lvl1pPr>
          </a:lstStyle>
          <a:p>
            <a:r>
              <a:rPr lang="de-AT" dirty="0"/>
              <a:t>Zwischenseite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123519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2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83354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9603" y="3593207"/>
            <a:ext cx="8935969" cy="923330"/>
          </a:xfrm>
        </p:spPr>
        <p:txBody>
          <a:bodyPr anchor="ctr"/>
          <a:lstStyle>
            <a:lvl1pPr algn="ctr">
              <a:defRPr sz="3000" b="0" cap="none" baseline="0">
                <a:solidFill>
                  <a:schemeClr val="accent5"/>
                </a:solidFill>
              </a:defRPr>
            </a:lvl1pPr>
          </a:lstStyle>
          <a:p>
            <a:r>
              <a:rPr lang="de-AT" dirty="0"/>
              <a:t>Zwischenseite 2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cxnSp>
        <p:nvCxnSpPr>
          <p:cNvPr id="8" name="Gerade Verbindung 18">
            <a:extLst>
              <a:ext uri="{FF2B5EF4-FFF2-40B4-BE49-F238E27FC236}">
                <a16:creationId xmlns:a16="http://schemas.microsoft.com/office/drawing/2014/main" id="{CB524A15-880A-49A5-8F56-49C7A0E2207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410258" y="3306573"/>
            <a:ext cx="11374659" cy="0"/>
          </a:xfrm>
          <a:prstGeom prst="line">
            <a:avLst/>
          </a:prstGeom>
          <a:noFill/>
          <a:ln w="19050" cap="rnd">
            <a:gradFill flip="none" rotWithShape="1">
              <a:gsLst>
                <a:gs pos="5000">
                  <a:schemeClr val="bg2">
                    <a:alpha val="0"/>
                  </a:schemeClr>
                </a:gs>
                <a:gs pos="50000">
                  <a:schemeClr val="bg2"/>
                </a:gs>
                <a:gs pos="95000">
                  <a:schemeClr val="bg2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 Verbindung 18">
            <a:extLst>
              <a:ext uri="{FF2B5EF4-FFF2-40B4-BE49-F238E27FC236}">
                <a16:creationId xmlns:a16="http://schemas.microsoft.com/office/drawing/2014/main" id="{14C588F4-2336-4CC8-899A-FE4E86B6EBD8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2085829" y="4859601"/>
            <a:ext cx="8023517" cy="0"/>
          </a:xfrm>
          <a:prstGeom prst="line">
            <a:avLst/>
          </a:prstGeom>
          <a:noFill/>
          <a:ln w="19050" cap="rnd">
            <a:gradFill flip="none" rotWithShape="1">
              <a:gsLst>
                <a:gs pos="5000">
                  <a:schemeClr val="bg2">
                    <a:alpha val="0"/>
                  </a:schemeClr>
                </a:gs>
                <a:gs pos="50000">
                  <a:schemeClr val="bg2"/>
                </a:gs>
                <a:gs pos="95000">
                  <a:schemeClr val="bg2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Freeform 92">
            <a:extLst>
              <a:ext uri="{FF2B5EF4-FFF2-40B4-BE49-F238E27FC236}">
                <a16:creationId xmlns:a16="http://schemas.microsoft.com/office/drawing/2014/main" id="{726B6BE3-D2DD-4BD8-AC7D-DEDC65766433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5531896" y="1107091"/>
            <a:ext cx="1131383" cy="1887196"/>
          </a:xfrm>
          <a:custGeom>
            <a:avLst/>
            <a:gdLst>
              <a:gd name="T0" fmla="*/ 173 w 307"/>
              <a:gd name="T1" fmla="*/ 447 h 512"/>
              <a:gd name="T2" fmla="*/ 307 w 307"/>
              <a:gd name="T3" fmla="*/ 153 h 512"/>
              <a:gd name="T4" fmla="*/ 153 w 307"/>
              <a:gd name="T5" fmla="*/ 0 h 512"/>
              <a:gd name="T6" fmla="*/ 0 w 307"/>
              <a:gd name="T7" fmla="*/ 153 h 512"/>
              <a:gd name="T8" fmla="*/ 134 w 307"/>
              <a:gd name="T9" fmla="*/ 447 h 512"/>
              <a:gd name="T10" fmla="*/ 32 w 307"/>
              <a:gd name="T11" fmla="*/ 480 h 512"/>
              <a:gd name="T12" fmla="*/ 153 w 307"/>
              <a:gd name="T13" fmla="*/ 512 h 512"/>
              <a:gd name="T14" fmla="*/ 275 w 307"/>
              <a:gd name="T15" fmla="*/ 480 h 512"/>
              <a:gd name="T16" fmla="*/ 173 w 307"/>
              <a:gd name="T17" fmla="*/ 447 h 512"/>
              <a:gd name="T18" fmla="*/ 56 w 307"/>
              <a:gd name="T19" fmla="*/ 154 h 512"/>
              <a:gd name="T20" fmla="*/ 153 w 307"/>
              <a:gd name="T21" fmla="*/ 56 h 512"/>
              <a:gd name="T22" fmla="*/ 251 w 307"/>
              <a:gd name="T23" fmla="*/ 154 h 512"/>
              <a:gd name="T24" fmla="*/ 153 w 307"/>
              <a:gd name="T25" fmla="*/ 251 h 512"/>
              <a:gd name="T26" fmla="*/ 56 w 307"/>
              <a:gd name="T27" fmla="*/ 15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7" h="512">
                <a:moveTo>
                  <a:pt x="173" y="447"/>
                </a:moveTo>
                <a:cubicBezTo>
                  <a:pt x="215" y="379"/>
                  <a:pt x="307" y="218"/>
                  <a:pt x="307" y="153"/>
                </a:cubicBezTo>
                <a:cubicBezTo>
                  <a:pt x="307" y="68"/>
                  <a:pt x="238" y="0"/>
                  <a:pt x="153" y="0"/>
                </a:cubicBezTo>
                <a:cubicBezTo>
                  <a:pt x="69" y="0"/>
                  <a:pt x="0" y="68"/>
                  <a:pt x="0" y="153"/>
                </a:cubicBezTo>
                <a:cubicBezTo>
                  <a:pt x="0" y="218"/>
                  <a:pt x="92" y="379"/>
                  <a:pt x="134" y="447"/>
                </a:cubicBezTo>
                <a:cubicBezTo>
                  <a:pt x="76" y="450"/>
                  <a:pt x="32" y="463"/>
                  <a:pt x="32" y="480"/>
                </a:cubicBezTo>
                <a:cubicBezTo>
                  <a:pt x="32" y="498"/>
                  <a:pt x="87" y="512"/>
                  <a:pt x="153" y="512"/>
                </a:cubicBezTo>
                <a:cubicBezTo>
                  <a:pt x="220" y="512"/>
                  <a:pt x="275" y="498"/>
                  <a:pt x="275" y="480"/>
                </a:cubicBezTo>
                <a:cubicBezTo>
                  <a:pt x="275" y="463"/>
                  <a:pt x="231" y="450"/>
                  <a:pt x="173" y="447"/>
                </a:cubicBezTo>
                <a:close/>
                <a:moveTo>
                  <a:pt x="56" y="154"/>
                </a:moveTo>
                <a:cubicBezTo>
                  <a:pt x="56" y="100"/>
                  <a:pt x="99" y="56"/>
                  <a:pt x="153" y="56"/>
                </a:cubicBezTo>
                <a:cubicBezTo>
                  <a:pt x="207" y="56"/>
                  <a:pt x="251" y="100"/>
                  <a:pt x="251" y="154"/>
                </a:cubicBezTo>
                <a:cubicBezTo>
                  <a:pt x="251" y="208"/>
                  <a:pt x="207" y="251"/>
                  <a:pt x="153" y="251"/>
                </a:cubicBezTo>
                <a:cubicBezTo>
                  <a:pt x="99" y="251"/>
                  <a:pt x="56" y="208"/>
                  <a:pt x="56" y="1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372" tIns="45686" rIns="91372" bIns="4568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33790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60581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Agenda CASAG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  <p:sp>
        <p:nvSpPr>
          <p:cNvPr id="36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891027" y="9261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</a:t>
            </a:r>
          </a:p>
        </p:txBody>
      </p:sp>
      <p:sp>
        <p:nvSpPr>
          <p:cNvPr id="37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34520" y="9261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891027" y="14810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2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34520" y="14810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1027" y="20360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3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520" y="20360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1027" y="25909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4</a:t>
            </a:r>
          </a:p>
        </p:txBody>
      </p:sp>
      <p:sp>
        <p:nvSpPr>
          <p:cNvPr id="49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520" y="25909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891027" y="314590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5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520" y="314590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91027" y="37008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6</a:t>
            </a:r>
          </a:p>
        </p:txBody>
      </p:sp>
      <p:sp>
        <p:nvSpPr>
          <p:cNvPr id="53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334520" y="37008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54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891027" y="42557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7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334520" y="42557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891027" y="48107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8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334520" y="48107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891027" y="53656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9</a:t>
            </a:r>
          </a:p>
        </p:txBody>
      </p:sp>
      <p:sp>
        <p:nvSpPr>
          <p:cNvPr id="59" name="Textplatzhalt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334520" y="53656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60" name="Textplatzhalt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891027" y="5920599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0</a:t>
            </a:r>
          </a:p>
        </p:txBody>
      </p:sp>
      <p:sp>
        <p:nvSpPr>
          <p:cNvPr id="61" name="Textplatzhalter 17"/>
          <p:cNvSpPr>
            <a:spLocks noGrp="1"/>
          </p:cNvSpPr>
          <p:nvPr>
            <p:ph type="body" sz="quarter" idx="33" hasCustomPrompt="1"/>
          </p:nvPr>
        </p:nvSpPr>
        <p:spPr>
          <a:xfrm>
            <a:off x="334520" y="5920599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375623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Casino Austria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684820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2000" b="1" i="0" baseline="0" dirty="0" err="1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AT" dirty="0"/>
              <a:t>Agenda Casino Austria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  <p:sp>
        <p:nvSpPr>
          <p:cNvPr id="36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891027" y="9261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</a:t>
            </a:r>
          </a:p>
        </p:txBody>
      </p:sp>
      <p:sp>
        <p:nvSpPr>
          <p:cNvPr id="37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34520" y="9261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891027" y="14810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2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34520" y="14810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1027" y="20360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3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520" y="20360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1027" y="25909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4</a:t>
            </a:r>
          </a:p>
        </p:txBody>
      </p:sp>
      <p:sp>
        <p:nvSpPr>
          <p:cNvPr id="49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520" y="25909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891027" y="314590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5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520" y="314590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91027" y="37008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6</a:t>
            </a:r>
          </a:p>
        </p:txBody>
      </p:sp>
      <p:sp>
        <p:nvSpPr>
          <p:cNvPr id="53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334520" y="37008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54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891027" y="42557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7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334520" y="42557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891027" y="48107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8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334520" y="48107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891027" y="53656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9</a:t>
            </a:r>
          </a:p>
        </p:txBody>
      </p:sp>
      <p:sp>
        <p:nvSpPr>
          <p:cNvPr id="59" name="Textplatzhalt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334520" y="53656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60" name="Textplatzhalt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891027" y="5920599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0</a:t>
            </a:r>
          </a:p>
        </p:txBody>
      </p:sp>
      <p:sp>
        <p:nvSpPr>
          <p:cNvPr id="61" name="Textplatzhalter 17"/>
          <p:cNvSpPr>
            <a:spLocks noGrp="1"/>
          </p:cNvSpPr>
          <p:nvPr>
            <p:ph type="body" sz="quarter" idx="33" hasCustomPrompt="1"/>
          </p:nvPr>
        </p:nvSpPr>
        <p:spPr>
          <a:xfrm>
            <a:off x="334520" y="5920599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1634017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46552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91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Casinos Aust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81044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4C6706F-8491-4578-85C8-06667359DE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80B7E4D-4069-4621-8E33-036D1374E4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38545894-002E-4A43-AF23-26EC1C291B2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E77C9FE-B917-4958-B711-E22C01AAD6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3321D54-254F-444A-A29F-49753055F2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046BF86-23B6-460E-898E-5092946B086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84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707284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5956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2091752"/>
            <a:ext cx="10964153" cy="15613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520" y="2410776"/>
            <a:ext cx="10111913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2"/>
                </a:solidFill>
              </a:defRPr>
            </a:lvl1pPr>
          </a:lstStyle>
          <a:p>
            <a:r>
              <a:rPr lang="de-AT" dirty="0"/>
              <a:t>Zwischenseite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8858178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Österr. Lotterien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89412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44420" name="Picture 3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375" y="5874358"/>
            <a:ext cx="2032426" cy="486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2130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Österr. Lotteri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35419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18030E7-0D57-4863-B740-278AD728DF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C9F0BB4-9F26-4F4B-A6DA-6C3A2115D2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1FB8D27-DCC3-419F-BB27-400BC78EC8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FA6780A6-DDC5-446B-B62C-C09AED3BD2E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DC6E53B5-8E54-4C18-A6FC-4C4562F8964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B33E21B-B12E-48D1-A95A-FB533A407D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2856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sinos Austria Intl.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35576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grpSp>
        <p:nvGrpSpPr>
          <p:cNvPr id="40" name="Gruppieren 39"/>
          <p:cNvGrpSpPr/>
          <p:nvPr userDrawn="1"/>
        </p:nvGrpSpPr>
        <p:grpSpPr>
          <a:xfrm>
            <a:off x="3874339" y="5870322"/>
            <a:ext cx="4446497" cy="494671"/>
            <a:chOff x="2348752" y="5870322"/>
            <a:chExt cx="4446497" cy="494671"/>
          </a:xfrm>
        </p:grpSpPr>
        <p:sp>
          <p:nvSpPr>
            <p:cNvPr id="41" name="Freeform 69"/>
            <p:cNvSpPr>
              <a:spLocks/>
            </p:cNvSpPr>
            <p:nvPr/>
          </p:nvSpPr>
          <p:spPr bwMode="auto">
            <a:xfrm>
              <a:off x="4461805" y="5870322"/>
              <a:ext cx="225083" cy="151999"/>
            </a:xfrm>
            <a:custGeom>
              <a:avLst/>
              <a:gdLst>
                <a:gd name="T0" fmla="*/ 1249 w 1379"/>
                <a:gd name="T1" fmla="*/ 202 h 930"/>
                <a:gd name="T2" fmla="*/ 945 w 1379"/>
                <a:gd name="T3" fmla="*/ 120 h 930"/>
                <a:gd name="T4" fmla="*/ 514 w 1379"/>
                <a:gd name="T5" fmla="*/ 436 h 930"/>
                <a:gd name="T6" fmla="*/ 945 w 1379"/>
                <a:gd name="T7" fmla="*/ 752 h 930"/>
                <a:gd name="T8" fmla="*/ 1350 w 1379"/>
                <a:gd name="T9" fmla="*/ 516 h 930"/>
                <a:gd name="T10" fmla="*/ 1347 w 1379"/>
                <a:gd name="T11" fmla="*/ 522 h 930"/>
                <a:gd name="T12" fmla="*/ 1207 w 1379"/>
                <a:gd name="T13" fmla="*/ 597 h 930"/>
                <a:gd name="T14" fmla="*/ 1038 w 1379"/>
                <a:gd name="T15" fmla="*/ 428 h 930"/>
                <a:gd name="T16" fmla="*/ 1207 w 1379"/>
                <a:gd name="T17" fmla="*/ 259 h 930"/>
                <a:gd name="T18" fmla="*/ 1376 w 1379"/>
                <a:gd name="T19" fmla="*/ 428 h 930"/>
                <a:gd name="T20" fmla="*/ 1379 w 1379"/>
                <a:gd name="T21" fmla="*/ 465 h 930"/>
                <a:gd name="T22" fmla="*/ 689 w 1379"/>
                <a:gd name="T23" fmla="*/ 930 h 930"/>
                <a:gd name="T24" fmla="*/ 0 w 1379"/>
                <a:gd name="T25" fmla="*/ 465 h 930"/>
                <a:gd name="T26" fmla="*/ 689 w 1379"/>
                <a:gd name="T27" fmla="*/ 0 h 930"/>
                <a:gd name="T28" fmla="*/ 1249 w 1379"/>
                <a:gd name="T29" fmla="*/ 202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9" h="930">
                  <a:moveTo>
                    <a:pt x="1249" y="202"/>
                  </a:moveTo>
                  <a:cubicBezTo>
                    <a:pt x="1171" y="146"/>
                    <a:pt x="1064" y="120"/>
                    <a:pt x="945" y="120"/>
                  </a:cubicBezTo>
                  <a:cubicBezTo>
                    <a:pt x="707" y="120"/>
                    <a:pt x="514" y="262"/>
                    <a:pt x="514" y="436"/>
                  </a:cubicBezTo>
                  <a:cubicBezTo>
                    <a:pt x="514" y="611"/>
                    <a:pt x="707" y="752"/>
                    <a:pt x="945" y="752"/>
                  </a:cubicBezTo>
                  <a:cubicBezTo>
                    <a:pt x="1145" y="752"/>
                    <a:pt x="1306" y="603"/>
                    <a:pt x="1350" y="516"/>
                  </a:cubicBezTo>
                  <a:cubicBezTo>
                    <a:pt x="1347" y="522"/>
                    <a:pt x="1347" y="522"/>
                    <a:pt x="1347" y="522"/>
                  </a:cubicBezTo>
                  <a:cubicBezTo>
                    <a:pt x="1316" y="567"/>
                    <a:pt x="1265" y="597"/>
                    <a:pt x="1207" y="597"/>
                  </a:cubicBezTo>
                  <a:cubicBezTo>
                    <a:pt x="1114" y="597"/>
                    <a:pt x="1038" y="521"/>
                    <a:pt x="1038" y="428"/>
                  </a:cubicBezTo>
                  <a:cubicBezTo>
                    <a:pt x="1038" y="335"/>
                    <a:pt x="1114" y="259"/>
                    <a:pt x="1207" y="259"/>
                  </a:cubicBezTo>
                  <a:cubicBezTo>
                    <a:pt x="1300" y="259"/>
                    <a:pt x="1376" y="335"/>
                    <a:pt x="1376" y="428"/>
                  </a:cubicBezTo>
                  <a:cubicBezTo>
                    <a:pt x="1379" y="465"/>
                    <a:pt x="1379" y="465"/>
                    <a:pt x="1379" y="465"/>
                  </a:cubicBezTo>
                  <a:cubicBezTo>
                    <a:pt x="1379" y="722"/>
                    <a:pt x="1070" y="930"/>
                    <a:pt x="689" y="930"/>
                  </a:cubicBezTo>
                  <a:cubicBezTo>
                    <a:pt x="309" y="930"/>
                    <a:pt x="0" y="722"/>
                    <a:pt x="0" y="465"/>
                  </a:cubicBezTo>
                  <a:cubicBezTo>
                    <a:pt x="0" y="208"/>
                    <a:pt x="309" y="0"/>
                    <a:pt x="689" y="0"/>
                  </a:cubicBezTo>
                  <a:cubicBezTo>
                    <a:pt x="921" y="0"/>
                    <a:pt x="1124" y="84"/>
                    <a:pt x="1249" y="202"/>
                  </a:cubicBezTo>
                  <a:close/>
                </a:path>
              </a:pathLst>
            </a:custGeom>
            <a:solidFill>
              <a:srgbClr val="D70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70"/>
            <p:cNvSpPr>
              <a:spLocks noEditPoints="1"/>
            </p:cNvSpPr>
            <p:nvPr/>
          </p:nvSpPr>
          <p:spPr bwMode="auto">
            <a:xfrm>
              <a:off x="2547673" y="6099671"/>
              <a:ext cx="168777" cy="225510"/>
            </a:xfrm>
            <a:custGeom>
              <a:avLst/>
              <a:gdLst>
                <a:gd name="T0" fmla="*/ 373 w 1034"/>
                <a:gd name="T1" fmla="*/ 911 h 1380"/>
                <a:gd name="T2" fmla="*/ 306 w 1034"/>
                <a:gd name="T3" fmla="*/ 1153 h 1380"/>
                <a:gd name="T4" fmla="*/ 421 w 1034"/>
                <a:gd name="T5" fmla="*/ 1267 h 1380"/>
                <a:gd name="T6" fmla="*/ 421 w 1034"/>
                <a:gd name="T7" fmla="*/ 1380 h 1380"/>
                <a:gd name="T8" fmla="*/ 0 w 1034"/>
                <a:gd name="T9" fmla="*/ 1380 h 1380"/>
                <a:gd name="T10" fmla="*/ 0 w 1034"/>
                <a:gd name="T11" fmla="*/ 1267 h 1380"/>
                <a:gd name="T12" fmla="*/ 114 w 1034"/>
                <a:gd name="T13" fmla="*/ 1153 h 1380"/>
                <a:gd name="T14" fmla="*/ 418 w 1034"/>
                <a:gd name="T15" fmla="*/ 0 h 1380"/>
                <a:gd name="T16" fmla="*/ 652 w 1034"/>
                <a:gd name="T17" fmla="*/ 0 h 1380"/>
                <a:gd name="T18" fmla="*/ 966 w 1034"/>
                <a:gd name="T19" fmla="*/ 1186 h 1380"/>
                <a:gd name="T20" fmla="*/ 1034 w 1034"/>
                <a:gd name="T21" fmla="*/ 1267 h 1380"/>
                <a:gd name="T22" fmla="*/ 1034 w 1034"/>
                <a:gd name="T23" fmla="*/ 1267 h 1380"/>
                <a:gd name="T24" fmla="*/ 1034 w 1034"/>
                <a:gd name="T25" fmla="*/ 1380 h 1380"/>
                <a:gd name="T26" fmla="*/ 583 w 1034"/>
                <a:gd name="T27" fmla="*/ 1380 h 1380"/>
                <a:gd name="T28" fmla="*/ 583 w 1034"/>
                <a:gd name="T29" fmla="*/ 1267 h 1380"/>
                <a:gd name="T30" fmla="*/ 697 w 1034"/>
                <a:gd name="T31" fmla="*/ 1153 h 1380"/>
                <a:gd name="T32" fmla="*/ 630 w 1034"/>
                <a:gd name="T33" fmla="*/ 911 h 1380"/>
                <a:gd name="T34" fmla="*/ 373 w 1034"/>
                <a:gd name="T35" fmla="*/ 911 h 1380"/>
                <a:gd name="T36" fmla="*/ 593 w 1034"/>
                <a:gd name="T37" fmla="*/ 767 h 1380"/>
                <a:gd name="T38" fmla="*/ 502 w 1034"/>
                <a:gd name="T39" fmla="*/ 417 h 1380"/>
                <a:gd name="T40" fmla="*/ 411 w 1034"/>
                <a:gd name="T41" fmla="*/ 767 h 1380"/>
                <a:gd name="T42" fmla="*/ 593 w 1034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4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4" y="1212"/>
                    <a:pt x="357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4" y="1267"/>
                  </a:cubicBezTo>
                  <a:cubicBezTo>
                    <a:pt x="1034" y="1267"/>
                    <a:pt x="1034" y="1267"/>
                    <a:pt x="1034" y="1267"/>
                  </a:cubicBezTo>
                  <a:cubicBezTo>
                    <a:pt x="1034" y="1380"/>
                    <a:pt x="1034" y="1380"/>
                    <a:pt x="1034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1"/>
            <p:cNvSpPr>
              <a:spLocks/>
            </p:cNvSpPr>
            <p:nvPr/>
          </p:nvSpPr>
          <p:spPr bwMode="auto">
            <a:xfrm>
              <a:off x="2878259" y="6099671"/>
              <a:ext cx="77066" cy="225652"/>
            </a:xfrm>
            <a:custGeom>
              <a:avLst/>
              <a:gdLst>
                <a:gd name="T0" fmla="*/ 358 w 472"/>
                <a:gd name="T1" fmla="*/ 228 h 1381"/>
                <a:gd name="T2" fmla="*/ 472 w 472"/>
                <a:gd name="T3" fmla="*/ 113 h 1381"/>
                <a:gd name="T4" fmla="*/ 472 w 472"/>
                <a:gd name="T5" fmla="*/ 0 h 1381"/>
                <a:gd name="T6" fmla="*/ 0 w 472"/>
                <a:gd name="T7" fmla="*/ 0 h 1381"/>
                <a:gd name="T8" fmla="*/ 0 w 472"/>
                <a:gd name="T9" fmla="*/ 113 h 1381"/>
                <a:gd name="T10" fmla="*/ 114 w 472"/>
                <a:gd name="T11" fmla="*/ 228 h 1381"/>
                <a:gd name="T12" fmla="*/ 114 w 472"/>
                <a:gd name="T13" fmla="*/ 1154 h 1381"/>
                <a:gd name="T14" fmla="*/ 0 w 472"/>
                <a:gd name="T15" fmla="*/ 1268 h 1381"/>
                <a:gd name="T16" fmla="*/ 0 w 472"/>
                <a:gd name="T17" fmla="*/ 1381 h 1381"/>
                <a:gd name="T18" fmla="*/ 472 w 472"/>
                <a:gd name="T19" fmla="*/ 1381 h 1381"/>
                <a:gd name="T20" fmla="*/ 472 w 472"/>
                <a:gd name="T21" fmla="*/ 1268 h 1381"/>
                <a:gd name="T22" fmla="*/ 358 w 472"/>
                <a:gd name="T23" fmla="*/ 1154 h 1381"/>
                <a:gd name="T24" fmla="*/ 358 w 472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1381">
                  <a:moveTo>
                    <a:pt x="358" y="228"/>
                  </a:moveTo>
                  <a:cubicBezTo>
                    <a:pt x="358" y="165"/>
                    <a:pt x="409" y="113"/>
                    <a:pt x="472" y="11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5"/>
                    <a:pt x="114" y="228"/>
                  </a:cubicBezTo>
                  <a:cubicBezTo>
                    <a:pt x="114" y="1154"/>
                    <a:pt x="114" y="1154"/>
                    <a:pt x="114" y="1154"/>
                  </a:cubicBezTo>
                  <a:cubicBezTo>
                    <a:pt x="114" y="1217"/>
                    <a:pt x="63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2" y="1381"/>
                    <a:pt x="472" y="1381"/>
                    <a:pt x="472" y="1381"/>
                  </a:cubicBezTo>
                  <a:cubicBezTo>
                    <a:pt x="472" y="1268"/>
                    <a:pt x="472" y="1268"/>
                    <a:pt x="472" y="1268"/>
                  </a:cubicBezTo>
                  <a:cubicBezTo>
                    <a:pt x="409" y="1268"/>
                    <a:pt x="358" y="1217"/>
                    <a:pt x="358" y="1154"/>
                  </a:cubicBezTo>
                  <a:lnTo>
                    <a:pt x="358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2"/>
            <p:cNvSpPr>
              <a:spLocks noEditPoints="1"/>
            </p:cNvSpPr>
            <p:nvPr/>
          </p:nvSpPr>
          <p:spPr bwMode="auto">
            <a:xfrm>
              <a:off x="3146426" y="6095974"/>
              <a:ext cx="156549" cy="232903"/>
            </a:xfrm>
            <a:custGeom>
              <a:avLst/>
              <a:gdLst>
                <a:gd name="T0" fmla="*/ 0 w 959"/>
                <a:gd name="T1" fmla="*/ 712 h 1425"/>
                <a:gd name="T2" fmla="*/ 480 w 959"/>
                <a:gd name="T3" fmla="*/ 0 h 1425"/>
                <a:gd name="T4" fmla="*/ 959 w 959"/>
                <a:gd name="T5" fmla="*/ 712 h 1425"/>
                <a:gd name="T6" fmla="*/ 480 w 959"/>
                <a:gd name="T7" fmla="*/ 1425 h 1425"/>
                <a:gd name="T8" fmla="*/ 0 w 959"/>
                <a:gd name="T9" fmla="*/ 712 h 1425"/>
                <a:gd name="T10" fmla="*/ 480 w 959"/>
                <a:gd name="T11" fmla="*/ 1260 h 1425"/>
                <a:gd name="T12" fmla="*/ 689 w 959"/>
                <a:gd name="T13" fmla="*/ 712 h 1425"/>
                <a:gd name="T14" fmla="*/ 480 w 959"/>
                <a:gd name="T15" fmla="*/ 164 h 1425"/>
                <a:gd name="T16" fmla="*/ 270 w 959"/>
                <a:gd name="T17" fmla="*/ 712 h 1425"/>
                <a:gd name="T18" fmla="*/ 480 w 959"/>
                <a:gd name="T19" fmla="*/ 126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9" h="1425">
                  <a:moveTo>
                    <a:pt x="0" y="712"/>
                  </a:moveTo>
                  <a:cubicBezTo>
                    <a:pt x="0" y="319"/>
                    <a:pt x="215" y="0"/>
                    <a:pt x="480" y="0"/>
                  </a:cubicBezTo>
                  <a:cubicBezTo>
                    <a:pt x="744" y="0"/>
                    <a:pt x="959" y="319"/>
                    <a:pt x="959" y="712"/>
                  </a:cubicBezTo>
                  <a:cubicBezTo>
                    <a:pt x="959" y="1106"/>
                    <a:pt x="744" y="1425"/>
                    <a:pt x="480" y="1425"/>
                  </a:cubicBezTo>
                  <a:cubicBezTo>
                    <a:pt x="215" y="1425"/>
                    <a:pt x="0" y="1106"/>
                    <a:pt x="0" y="712"/>
                  </a:cubicBezTo>
                  <a:close/>
                  <a:moveTo>
                    <a:pt x="480" y="1260"/>
                  </a:moveTo>
                  <a:cubicBezTo>
                    <a:pt x="595" y="1260"/>
                    <a:pt x="689" y="1015"/>
                    <a:pt x="689" y="712"/>
                  </a:cubicBezTo>
                  <a:cubicBezTo>
                    <a:pt x="689" y="410"/>
                    <a:pt x="595" y="164"/>
                    <a:pt x="480" y="164"/>
                  </a:cubicBezTo>
                  <a:cubicBezTo>
                    <a:pt x="364" y="164"/>
                    <a:pt x="270" y="410"/>
                    <a:pt x="270" y="712"/>
                  </a:cubicBezTo>
                  <a:cubicBezTo>
                    <a:pt x="270" y="1015"/>
                    <a:pt x="364" y="1260"/>
                    <a:pt x="480" y="126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73"/>
            <p:cNvSpPr>
              <a:spLocks noEditPoints="1"/>
            </p:cNvSpPr>
            <p:nvPr/>
          </p:nvSpPr>
          <p:spPr bwMode="auto">
            <a:xfrm>
              <a:off x="6089713" y="6095974"/>
              <a:ext cx="156549" cy="232903"/>
            </a:xfrm>
            <a:custGeom>
              <a:avLst/>
              <a:gdLst>
                <a:gd name="T0" fmla="*/ 0 w 959"/>
                <a:gd name="T1" fmla="*/ 712 h 1425"/>
                <a:gd name="T2" fmla="*/ 479 w 959"/>
                <a:gd name="T3" fmla="*/ 0 h 1425"/>
                <a:gd name="T4" fmla="*/ 959 w 959"/>
                <a:gd name="T5" fmla="*/ 712 h 1425"/>
                <a:gd name="T6" fmla="*/ 479 w 959"/>
                <a:gd name="T7" fmla="*/ 1425 h 1425"/>
                <a:gd name="T8" fmla="*/ 0 w 959"/>
                <a:gd name="T9" fmla="*/ 712 h 1425"/>
                <a:gd name="T10" fmla="*/ 479 w 959"/>
                <a:gd name="T11" fmla="*/ 1260 h 1425"/>
                <a:gd name="T12" fmla="*/ 689 w 959"/>
                <a:gd name="T13" fmla="*/ 712 h 1425"/>
                <a:gd name="T14" fmla="*/ 479 w 959"/>
                <a:gd name="T15" fmla="*/ 164 h 1425"/>
                <a:gd name="T16" fmla="*/ 270 w 959"/>
                <a:gd name="T17" fmla="*/ 712 h 1425"/>
                <a:gd name="T18" fmla="*/ 479 w 959"/>
                <a:gd name="T19" fmla="*/ 126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9" h="1425">
                  <a:moveTo>
                    <a:pt x="0" y="712"/>
                  </a:moveTo>
                  <a:cubicBezTo>
                    <a:pt x="0" y="319"/>
                    <a:pt x="215" y="0"/>
                    <a:pt x="479" y="0"/>
                  </a:cubicBezTo>
                  <a:cubicBezTo>
                    <a:pt x="744" y="0"/>
                    <a:pt x="959" y="319"/>
                    <a:pt x="959" y="712"/>
                  </a:cubicBezTo>
                  <a:cubicBezTo>
                    <a:pt x="959" y="1106"/>
                    <a:pt x="744" y="1425"/>
                    <a:pt x="479" y="1425"/>
                  </a:cubicBezTo>
                  <a:cubicBezTo>
                    <a:pt x="215" y="1425"/>
                    <a:pt x="0" y="1106"/>
                    <a:pt x="0" y="712"/>
                  </a:cubicBezTo>
                  <a:close/>
                  <a:moveTo>
                    <a:pt x="479" y="1260"/>
                  </a:moveTo>
                  <a:cubicBezTo>
                    <a:pt x="595" y="1260"/>
                    <a:pt x="689" y="1015"/>
                    <a:pt x="689" y="712"/>
                  </a:cubicBezTo>
                  <a:cubicBezTo>
                    <a:pt x="689" y="410"/>
                    <a:pt x="595" y="164"/>
                    <a:pt x="479" y="164"/>
                  </a:cubicBezTo>
                  <a:cubicBezTo>
                    <a:pt x="364" y="164"/>
                    <a:pt x="270" y="410"/>
                    <a:pt x="270" y="712"/>
                  </a:cubicBezTo>
                  <a:cubicBezTo>
                    <a:pt x="270" y="1015"/>
                    <a:pt x="364" y="1260"/>
                    <a:pt x="479" y="126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4"/>
            <p:cNvSpPr>
              <a:spLocks/>
            </p:cNvSpPr>
            <p:nvPr/>
          </p:nvSpPr>
          <p:spPr bwMode="auto">
            <a:xfrm>
              <a:off x="2732801" y="6096258"/>
              <a:ext cx="129391" cy="234894"/>
            </a:xfrm>
            <a:custGeom>
              <a:avLst/>
              <a:gdLst>
                <a:gd name="T0" fmla="*/ 419 w 792"/>
                <a:gd name="T1" fmla="*/ 1424 h 1438"/>
                <a:gd name="T2" fmla="*/ 226 w 792"/>
                <a:gd name="T3" fmla="*/ 1360 h 1438"/>
                <a:gd name="T4" fmla="*/ 208 w 792"/>
                <a:gd name="T5" fmla="*/ 1402 h 1438"/>
                <a:gd name="T6" fmla="*/ 87 w 792"/>
                <a:gd name="T7" fmla="*/ 1402 h 1438"/>
                <a:gd name="T8" fmla="*/ 0 w 792"/>
                <a:gd name="T9" fmla="*/ 953 h 1438"/>
                <a:gd name="T10" fmla="*/ 113 w 792"/>
                <a:gd name="T11" fmla="*/ 889 h 1438"/>
                <a:gd name="T12" fmla="*/ 399 w 792"/>
                <a:gd name="T13" fmla="*/ 1261 h 1438"/>
                <a:gd name="T14" fmla="*/ 582 w 792"/>
                <a:gd name="T15" fmla="*/ 1043 h 1438"/>
                <a:gd name="T16" fmla="*/ 0 w 792"/>
                <a:gd name="T17" fmla="*/ 400 h 1438"/>
                <a:gd name="T18" fmla="*/ 312 w 792"/>
                <a:gd name="T19" fmla="*/ 0 h 1438"/>
                <a:gd name="T20" fmla="*/ 505 w 792"/>
                <a:gd name="T21" fmla="*/ 74 h 1438"/>
                <a:gd name="T22" fmla="*/ 523 w 792"/>
                <a:gd name="T23" fmla="*/ 32 h 1438"/>
                <a:gd name="T24" fmla="*/ 643 w 792"/>
                <a:gd name="T25" fmla="*/ 32 h 1438"/>
                <a:gd name="T26" fmla="*/ 710 w 792"/>
                <a:gd name="T27" fmla="*/ 389 h 1438"/>
                <a:gd name="T28" fmla="*/ 611 w 792"/>
                <a:gd name="T29" fmla="*/ 446 h 1438"/>
                <a:gd name="T30" fmla="*/ 346 w 792"/>
                <a:gd name="T31" fmla="*/ 161 h 1438"/>
                <a:gd name="T32" fmla="*/ 221 w 792"/>
                <a:gd name="T33" fmla="*/ 330 h 1438"/>
                <a:gd name="T34" fmla="*/ 792 w 792"/>
                <a:gd name="T35" fmla="*/ 965 h 1438"/>
                <a:gd name="T36" fmla="*/ 419 w 792"/>
                <a:gd name="T37" fmla="*/ 142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2" h="1438">
                  <a:moveTo>
                    <a:pt x="419" y="1424"/>
                  </a:moveTo>
                  <a:cubicBezTo>
                    <a:pt x="354" y="1424"/>
                    <a:pt x="281" y="1405"/>
                    <a:pt x="226" y="1360"/>
                  </a:cubicBezTo>
                  <a:cubicBezTo>
                    <a:pt x="208" y="1402"/>
                    <a:pt x="208" y="1402"/>
                    <a:pt x="208" y="1402"/>
                  </a:cubicBezTo>
                  <a:cubicBezTo>
                    <a:pt x="87" y="1402"/>
                    <a:pt x="87" y="1402"/>
                    <a:pt x="87" y="1402"/>
                  </a:cubicBezTo>
                  <a:cubicBezTo>
                    <a:pt x="0" y="953"/>
                    <a:pt x="0" y="953"/>
                    <a:pt x="0" y="953"/>
                  </a:cubicBezTo>
                  <a:cubicBezTo>
                    <a:pt x="113" y="889"/>
                    <a:pt x="113" y="889"/>
                    <a:pt x="113" y="889"/>
                  </a:cubicBezTo>
                  <a:cubicBezTo>
                    <a:pt x="218" y="1175"/>
                    <a:pt x="282" y="1261"/>
                    <a:pt x="399" y="1261"/>
                  </a:cubicBezTo>
                  <a:cubicBezTo>
                    <a:pt x="399" y="1261"/>
                    <a:pt x="582" y="1268"/>
                    <a:pt x="582" y="1043"/>
                  </a:cubicBezTo>
                  <a:cubicBezTo>
                    <a:pt x="582" y="706"/>
                    <a:pt x="0" y="924"/>
                    <a:pt x="0" y="400"/>
                  </a:cubicBezTo>
                  <a:cubicBezTo>
                    <a:pt x="0" y="213"/>
                    <a:pt x="77" y="0"/>
                    <a:pt x="312" y="0"/>
                  </a:cubicBezTo>
                  <a:cubicBezTo>
                    <a:pt x="377" y="0"/>
                    <a:pt x="449" y="29"/>
                    <a:pt x="505" y="74"/>
                  </a:cubicBezTo>
                  <a:cubicBezTo>
                    <a:pt x="523" y="32"/>
                    <a:pt x="523" y="32"/>
                    <a:pt x="523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710" y="389"/>
                    <a:pt x="710" y="389"/>
                    <a:pt x="710" y="389"/>
                  </a:cubicBezTo>
                  <a:cubicBezTo>
                    <a:pt x="611" y="446"/>
                    <a:pt x="611" y="446"/>
                    <a:pt x="611" y="446"/>
                  </a:cubicBezTo>
                  <a:cubicBezTo>
                    <a:pt x="527" y="252"/>
                    <a:pt x="463" y="161"/>
                    <a:pt x="346" y="161"/>
                  </a:cubicBezTo>
                  <a:cubicBezTo>
                    <a:pt x="259" y="161"/>
                    <a:pt x="221" y="259"/>
                    <a:pt x="221" y="330"/>
                  </a:cubicBezTo>
                  <a:cubicBezTo>
                    <a:pt x="221" y="673"/>
                    <a:pt x="792" y="405"/>
                    <a:pt x="792" y="965"/>
                  </a:cubicBezTo>
                  <a:cubicBezTo>
                    <a:pt x="792" y="1438"/>
                    <a:pt x="419" y="1424"/>
                    <a:pt x="419" y="14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5"/>
            <p:cNvSpPr>
              <a:spLocks noEditPoints="1"/>
            </p:cNvSpPr>
            <p:nvPr/>
          </p:nvSpPr>
          <p:spPr bwMode="auto">
            <a:xfrm>
              <a:off x="4219375" y="6099955"/>
              <a:ext cx="155696" cy="225368"/>
            </a:xfrm>
            <a:custGeom>
              <a:avLst/>
              <a:gdLst>
                <a:gd name="T0" fmla="*/ 357 w 954"/>
                <a:gd name="T1" fmla="*/ 240 h 1379"/>
                <a:gd name="T2" fmla="*/ 463 w 954"/>
                <a:gd name="T3" fmla="*/ 136 h 1379"/>
                <a:gd name="T4" fmla="*/ 463 w 954"/>
                <a:gd name="T5" fmla="*/ 136 h 1379"/>
                <a:gd name="T6" fmla="*/ 654 w 954"/>
                <a:gd name="T7" fmla="*/ 373 h 1379"/>
                <a:gd name="T8" fmla="*/ 454 w 954"/>
                <a:gd name="T9" fmla="*/ 611 h 1379"/>
                <a:gd name="T10" fmla="*/ 357 w 954"/>
                <a:gd name="T11" fmla="*/ 611 h 1379"/>
                <a:gd name="T12" fmla="*/ 357 w 954"/>
                <a:gd name="T13" fmla="*/ 240 h 1379"/>
                <a:gd name="T14" fmla="*/ 652 w 954"/>
                <a:gd name="T15" fmla="*/ 734 h 1379"/>
                <a:gd name="T16" fmla="*/ 889 w 954"/>
                <a:gd name="T17" fmla="*/ 391 h 1379"/>
                <a:gd name="T18" fmla="*/ 587 w 954"/>
                <a:gd name="T19" fmla="*/ 0 h 1379"/>
                <a:gd name="T20" fmla="*/ 0 w 954"/>
                <a:gd name="T21" fmla="*/ 0 h 1379"/>
                <a:gd name="T22" fmla="*/ 0 w 954"/>
                <a:gd name="T23" fmla="*/ 113 h 1379"/>
                <a:gd name="T24" fmla="*/ 114 w 954"/>
                <a:gd name="T25" fmla="*/ 227 h 1379"/>
                <a:gd name="T26" fmla="*/ 114 w 954"/>
                <a:gd name="T27" fmla="*/ 1152 h 1379"/>
                <a:gd name="T28" fmla="*/ 0 w 954"/>
                <a:gd name="T29" fmla="*/ 1267 h 1379"/>
                <a:gd name="T30" fmla="*/ 0 w 954"/>
                <a:gd name="T31" fmla="*/ 1379 h 1379"/>
                <a:gd name="T32" fmla="*/ 471 w 954"/>
                <a:gd name="T33" fmla="*/ 1379 h 1379"/>
                <a:gd name="T34" fmla="*/ 471 w 954"/>
                <a:gd name="T35" fmla="*/ 1267 h 1379"/>
                <a:gd name="T36" fmla="*/ 357 w 954"/>
                <a:gd name="T37" fmla="*/ 1152 h 1379"/>
                <a:gd name="T38" fmla="*/ 357 w 954"/>
                <a:gd name="T39" fmla="*/ 777 h 1379"/>
                <a:gd name="T40" fmla="*/ 388 w 954"/>
                <a:gd name="T41" fmla="*/ 777 h 1379"/>
                <a:gd name="T42" fmla="*/ 654 w 954"/>
                <a:gd name="T43" fmla="*/ 1379 h 1379"/>
                <a:gd name="T44" fmla="*/ 954 w 954"/>
                <a:gd name="T45" fmla="*/ 1379 h 1379"/>
                <a:gd name="T46" fmla="*/ 954 w 954"/>
                <a:gd name="T47" fmla="*/ 1267 h 1379"/>
                <a:gd name="T48" fmla="*/ 840 w 954"/>
                <a:gd name="T49" fmla="*/ 1152 h 1379"/>
                <a:gd name="T50" fmla="*/ 652 w 954"/>
                <a:gd name="T51" fmla="*/ 734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4" h="1379">
                  <a:moveTo>
                    <a:pt x="357" y="240"/>
                  </a:moveTo>
                  <a:cubicBezTo>
                    <a:pt x="357" y="179"/>
                    <a:pt x="402" y="136"/>
                    <a:pt x="463" y="136"/>
                  </a:cubicBezTo>
                  <a:cubicBezTo>
                    <a:pt x="463" y="136"/>
                    <a:pt x="463" y="136"/>
                    <a:pt x="463" y="136"/>
                  </a:cubicBezTo>
                  <a:cubicBezTo>
                    <a:pt x="563" y="136"/>
                    <a:pt x="654" y="186"/>
                    <a:pt x="654" y="373"/>
                  </a:cubicBezTo>
                  <a:cubicBezTo>
                    <a:pt x="654" y="559"/>
                    <a:pt x="561" y="611"/>
                    <a:pt x="454" y="611"/>
                  </a:cubicBezTo>
                  <a:cubicBezTo>
                    <a:pt x="357" y="611"/>
                    <a:pt x="357" y="611"/>
                    <a:pt x="357" y="611"/>
                  </a:cubicBezTo>
                  <a:lnTo>
                    <a:pt x="357" y="240"/>
                  </a:lnTo>
                  <a:close/>
                  <a:moveTo>
                    <a:pt x="652" y="734"/>
                  </a:moveTo>
                  <a:cubicBezTo>
                    <a:pt x="768" y="703"/>
                    <a:pt x="889" y="610"/>
                    <a:pt x="889" y="391"/>
                  </a:cubicBezTo>
                  <a:cubicBezTo>
                    <a:pt x="889" y="99"/>
                    <a:pt x="751" y="0"/>
                    <a:pt x="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4"/>
                    <a:pt x="114" y="227"/>
                  </a:cubicBezTo>
                  <a:cubicBezTo>
                    <a:pt x="114" y="1152"/>
                    <a:pt x="114" y="1152"/>
                    <a:pt x="114" y="1152"/>
                  </a:cubicBezTo>
                  <a:cubicBezTo>
                    <a:pt x="114" y="1215"/>
                    <a:pt x="63" y="1267"/>
                    <a:pt x="0" y="1267"/>
                  </a:cubicBezTo>
                  <a:cubicBezTo>
                    <a:pt x="0" y="1379"/>
                    <a:pt x="0" y="1379"/>
                    <a:pt x="0" y="1379"/>
                  </a:cubicBezTo>
                  <a:cubicBezTo>
                    <a:pt x="471" y="1379"/>
                    <a:pt x="471" y="1379"/>
                    <a:pt x="471" y="1379"/>
                  </a:cubicBezTo>
                  <a:cubicBezTo>
                    <a:pt x="471" y="1267"/>
                    <a:pt x="471" y="1267"/>
                    <a:pt x="471" y="1267"/>
                  </a:cubicBezTo>
                  <a:cubicBezTo>
                    <a:pt x="408" y="1267"/>
                    <a:pt x="357" y="1215"/>
                    <a:pt x="357" y="1152"/>
                  </a:cubicBezTo>
                  <a:cubicBezTo>
                    <a:pt x="357" y="777"/>
                    <a:pt x="357" y="777"/>
                    <a:pt x="357" y="777"/>
                  </a:cubicBezTo>
                  <a:cubicBezTo>
                    <a:pt x="388" y="777"/>
                    <a:pt x="388" y="777"/>
                    <a:pt x="388" y="777"/>
                  </a:cubicBezTo>
                  <a:cubicBezTo>
                    <a:pt x="654" y="1379"/>
                    <a:pt x="654" y="1379"/>
                    <a:pt x="654" y="1379"/>
                  </a:cubicBezTo>
                  <a:cubicBezTo>
                    <a:pt x="954" y="1379"/>
                    <a:pt x="954" y="1379"/>
                    <a:pt x="954" y="1379"/>
                  </a:cubicBezTo>
                  <a:cubicBezTo>
                    <a:pt x="954" y="1267"/>
                    <a:pt x="954" y="1267"/>
                    <a:pt x="954" y="1267"/>
                  </a:cubicBezTo>
                  <a:cubicBezTo>
                    <a:pt x="881" y="1267"/>
                    <a:pt x="840" y="1152"/>
                    <a:pt x="840" y="1152"/>
                  </a:cubicBezTo>
                  <a:lnTo>
                    <a:pt x="652" y="7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6"/>
            <p:cNvSpPr>
              <a:spLocks noEditPoints="1"/>
            </p:cNvSpPr>
            <p:nvPr/>
          </p:nvSpPr>
          <p:spPr bwMode="auto">
            <a:xfrm>
              <a:off x="5345360" y="6099955"/>
              <a:ext cx="155696" cy="225368"/>
            </a:xfrm>
            <a:custGeom>
              <a:avLst/>
              <a:gdLst>
                <a:gd name="T0" fmla="*/ 357 w 954"/>
                <a:gd name="T1" fmla="*/ 240 h 1379"/>
                <a:gd name="T2" fmla="*/ 464 w 954"/>
                <a:gd name="T3" fmla="*/ 136 h 1379"/>
                <a:gd name="T4" fmla="*/ 464 w 954"/>
                <a:gd name="T5" fmla="*/ 136 h 1379"/>
                <a:gd name="T6" fmla="*/ 655 w 954"/>
                <a:gd name="T7" fmla="*/ 373 h 1379"/>
                <a:gd name="T8" fmla="*/ 455 w 954"/>
                <a:gd name="T9" fmla="*/ 611 h 1379"/>
                <a:gd name="T10" fmla="*/ 357 w 954"/>
                <a:gd name="T11" fmla="*/ 611 h 1379"/>
                <a:gd name="T12" fmla="*/ 357 w 954"/>
                <a:gd name="T13" fmla="*/ 240 h 1379"/>
                <a:gd name="T14" fmla="*/ 653 w 954"/>
                <a:gd name="T15" fmla="*/ 734 h 1379"/>
                <a:gd name="T16" fmla="*/ 890 w 954"/>
                <a:gd name="T17" fmla="*/ 391 h 1379"/>
                <a:gd name="T18" fmla="*/ 588 w 954"/>
                <a:gd name="T19" fmla="*/ 0 h 1379"/>
                <a:gd name="T20" fmla="*/ 0 w 954"/>
                <a:gd name="T21" fmla="*/ 0 h 1379"/>
                <a:gd name="T22" fmla="*/ 0 w 954"/>
                <a:gd name="T23" fmla="*/ 113 h 1379"/>
                <a:gd name="T24" fmla="*/ 115 w 954"/>
                <a:gd name="T25" fmla="*/ 227 h 1379"/>
                <a:gd name="T26" fmla="*/ 115 w 954"/>
                <a:gd name="T27" fmla="*/ 1152 h 1379"/>
                <a:gd name="T28" fmla="*/ 0 w 954"/>
                <a:gd name="T29" fmla="*/ 1267 h 1379"/>
                <a:gd name="T30" fmla="*/ 0 w 954"/>
                <a:gd name="T31" fmla="*/ 1379 h 1379"/>
                <a:gd name="T32" fmla="*/ 472 w 954"/>
                <a:gd name="T33" fmla="*/ 1379 h 1379"/>
                <a:gd name="T34" fmla="*/ 472 w 954"/>
                <a:gd name="T35" fmla="*/ 1267 h 1379"/>
                <a:gd name="T36" fmla="*/ 357 w 954"/>
                <a:gd name="T37" fmla="*/ 1152 h 1379"/>
                <a:gd name="T38" fmla="*/ 357 w 954"/>
                <a:gd name="T39" fmla="*/ 777 h 1379"/>
                <a:gd name="T40" fmla="*/ 389 w 954"/>
                <a:gd name="T41" fmla="*/ 777 h 1379"/>
                <a:gd name="T42" fmla="*/ 654 w 954"/>
                <a:gd name="T43" fmla="*/ 1379 h 1379"/>
                <a:gd name="T44" fmla="*/ 954 w 954"/>
                <a:gd name="T45" fmla="*/ 1379 h 1379"/>
                <a:gd name="T46" fmla="*/ 954 w 954"/>
                <a:gd name="T47" fmla="*/ 1267 h 1379"/>
                <a:gd name="T48" fmla="*/ 840 w 954"/>
                <a:gd name="T49" fmla="*/ 1152 h 1379"/>
                <a:gd name="T50" fmla="*/ 653 w 954"/>
                <a:gd name="T51" fmla="*/ 734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4" h="1379">
                  <a:moveTo>
                    <a:pt x="357" y="240"/>
                  </a:moveTo>
                  <a:cubicBezTo>
                    <a:pt x="357" y="179"/>
                    <a:pt x="403" y="136"/>
                    <a:pt x="464" y="136"/>
                  </a:cubicBezTo>
                  <a:cubicBezTo>
                    <a:pt x="464" y="136"/>
                    <a:pt x="464" y="136"/>
                    <a:pt x="464" y="136"/>
                  </a:cubicBezTo>
                  <a:cubicBezTo>
                    <a:pt x="564" y="136"/>
                    <a:pt x="655" y="186"/>
                    <a:pt x="655" y="373"/>
                  </a:cubicBezTo>
                  <a:cubicBezTo>
                    <a:pt x="655" y="559"/>
                    <a:pt x="561" y="611"/>
                    <a:pt x="455" y="611"/>
                  </a:cubicBezTo>
                  <a:cubicBezTo>
                    <a:pt x="357" y="611"/>
                    <a:pt x="357" y="611"/>
                    <a:pt x="357" y="611"/>
                  </a:cubicBezTo>
                  <a:lnTo>
                    <a:pt x="357" y="240"/>
                  </a:lnTo>
                  <a:close/>
                  <a:moveTo>
                    <a:pt x="653" y="734"/>
                  </a:moveTo>
                  <a:cubicBezTo>
                    <a:pt x="769" y="703"/>
                    <a:pt x="890" y="610"/>
                    <a:pt x="890" y="391"/>
                  </a:cubicBezTo>
                  <a:cubicBezTo>
                    <a:pt x="890" y="99"/>
                    <a:pt x="751" y="0"/>
                    <a:pt x="5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5" y="164"/>
                    <a:pt x="115" y="227"/>
                  </a:cubicBezTo>
                  <a:cubicBezTo>
                    <a:pt x="115" y="1152"/>
                    <a:pt x="115" y="1152"/>
                    <a:pt x="115" y="1152"/>
                  </a:cubicBezTo>
                  <a:cubicBezTo>
                    <a:pt x="115" y="1215"/>
                    <a:pt x="63" y="1267"/>
                    <a:pt x="0" y="1267"/>
                  </a:cubicBezTo>
                  <a:cubicBezTo>
                    <a:pt x="0" y="1379"/>
                    <a:pt x="0" y="1379"/>
                    <a:pt x="0" y="1379"/>
                  </a:cubicBezTo>
                  <a:cubicBezTo>
                    <a:pt x="472" y="1379"/>
                    <a:pt x="472" y="1379"/>
                    <a:pt x="472" y="1379"/>
                  </a:cubicBezTo>
                  <a:cubicBezTo>
                    <a:pt x="472" y="1267"/>
                    <a:pt x="472" y="1267"/>
                    <a:pt x="472" y="1267"/>
                  </a:cubicBezTo>
                  <a:cubicBezTo>
                    <a:pt x="409" y="1267"/>
                    <a:pt x="357" y="1215"/>
                    <a:pt x="357" y="1152"/>
                  </a:cubicBezTo>
                  <a:cubicBezTo>
                    <a:pt x="357" y="777"/>
                    <a:pt x="357" y="777"/>
                    <a:pt x="357" y="777"/>
                  </a:cubicBezTo>
                  <a:cubicBezTo>
                    <a:pt x="389" y="777"/>
                    <a:pt x="389" y="777"/>
                    <a:pt x="389" y="777"/>
                  </a:cubicBezTo>
                  <a:cubicBezTo>
                    <a:pt x="654" y="1379"/>
                    <a:pt x="654" y="1379"/>
                    <a:pt x="654" y="1379"/>
                  </a:cubicBezTo>
                  <a:cubicBezTo>
                    <a:pt x="954" y="1379"/>
                    <a:pt x="954" y="1379"/>
                    <a:pt x="954" y="1379"/>
                  </a:cubicBezTo>
                  <a:cubicBezTo>
                    <a:pt x="954" y="1267"/>
                    <a:pt x="954" y="1267"/>
                    <a:pt x="954" y="1267"/>
                  </a:cubicBezTo>
                  <a:cubicBezTo>
                    <a:pt x="881" y="1267"/>
                    <a:pt x="840" y="1152"/>
                    <a:pt x="840" y="1152"/>
                  </a:cubicBezTo>
                  <a:lnTo>
                    <a:pt x="653" y="7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7"/>
            <p:cNvSpPr>
              <a:spLocks/>
            </p:cNvSpPr>
            <p:nvPr/>
          </p:nvSpPr>
          <p:spPr bwMode="auto">
            <a:xfrm>
              <a:off x="3323307" y="6096258"/>
              <a:ext cx="129249" cy="234894"/>
            </a:xfrm>
            <a:custGeom>
              <a:avLst/>
              <a:gdLst>
                <a:gd name="T0" fmla="*/ 418 w 792"/>
                <a:gd name="T1" fmla="*/ 1424 h 1438"/>
                <a:gd name="T2" fmla="*/ 226 w 792"/>
                <a:gd name="T3" fmla="*/ 1360 h 1438"/>
                <a:gd name="T4" fmla="*/ 208 w 792"/>
                <a:gd name="T5" fmla="*/ 1402 h 1438"/>
                <a:gd name="T6" fmla="*/ 87 w 792"/>
                <a:gd name="T7" fmla="*/ 1402 h 1438"/>
                <a:gd name="T8" fmla="*/ 0 w 792"/>
                <a:gd name="T9" fmla="*/ 953 h 1438"/>
                <a:gd name="T10" fmla="*/ 113 w 792"/>
                <a:gd name="T11" fmla="*/ 889 h 1438"/>
                <a:gd name="T12" fmla="*/ 399 w 792"/>
                <a:gd name="T13" fmla="*/ 1261 h 1438"/>
                <a:gd name="T14" fmla="*/ 582 w 792"/>
                <a:gd name="T15" fmla="*/ 1043 h 1438"/>
                <a:gd name="T16" fmla="*/ 0 w 792"/>
                <a:gd name="T17" fmla="*/ 400 h 1438"/>
                <a:gd name="T18" fmla="*/ 312 w 792"/>
                <a:gd name="T19" fmla="*/ 0 h 1438"/>
                <a:gd name="T20" fmla="*/ 504 w 792"/>
                <a:gd name="T21" fmla="*/ 74 h 1438"/>
                <a:gd name="T22" fmla="*/ 522 w 792"/>
                <a:gd name="T23" fmla="*/ 32 h 1438"/>
                <a:gd name="T24" fmla="*/ 643 w 792"/>
                <a:gd name="T25" fmla="*/ 32 h 1438"/>
                <a:gd name="T26" fmla="*/ 710 w 792"/>
                <a:gd name="T27" fmla="*/ 389 h 1438"/>
                <a:gd name="T28" fmla="*/ 611 w 792"/>
                <a:gd name="T29" fmla="*/ 446 h 1438"/>
                <a:gd name="T30" fmla="*/ 346 w 792"/>
                <a:gd name="T31" fmla="*/ 161 h 1438"/>
                <a:gd name="T32" fmla="*/ 220 w 792"/>
                <a:gd name="T33" fmla="*/ 330 h 1438"/>
                <a:gd name="T34" fmla="*/ 792 w 792"/>
                <a:gd name="T35" fmla="*/ 965 h 1438"/>
                <a:gd name="T36" fmla="*/ 418 w 792"/>
                <a:gd name="T37" fmla="*/ 142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2" h="1438">
                  <a:moveTo>
                    <a:pt x="418" y="1424"/>
                  </a:moveTo>
                  <a:cubicBezTo>
                    <a:pt x="354" y="1424"/>
                    <a:pt x="281" y="1405"/>
                    <a:pt x="226" y="1360"/>
                  </a:cubicBezTo>
                  <a:cubicBezTo>
                    <a:pt x="208" y="1402"/>
                    <a:pt x="208" y="1402"/>
                    <a:pt x="208" y="1402"/>
                  </a:cubicBezTo>
                  <a:cubicBezTo>
                    <a:pt x="87" y="1402"/>
                    <a:pt x="87" y="1402"/>
                    <a:pt x="87" y="1402"/>
                  </a:cubicBezTo>
                  <a:cubicBezTo>
                    <a:pt x="0" y="953"/>
                    <a:pt x="0" y="953"/>
                    <a:pt x="0" y="953"/>
                  </a:cubicBezTo>
                  <a:cubicBezTo>
                    <a:pt x="113" y="889"/>
                    <a:pt x="113" y="889"/>
                    <a:pt x="113" y="889"/>
                  </a:cubicBezTo>
                  <a:cubicBezTo>
                    <a:pt x="218" y="1175"/>
                    <a:pt x="281" y="1261"/>
                    <a:pt x="399" y="1261"/>
                  </a:cubicBezTo>
                  <a:cubicBezTo>
                    <a:pt x="399" y="1261"/>
                    <a:pt x="582" y="1268"/>
                    <a:pt x="582" y="1043"/>
                  </a:cubicBezTo>
                  <a:cubicBezTo>
                    <a:pt x="582" y="706"/>
                    <a:pt x="0" y="924"/>
                    <a:pt x="0" y="400"/>
                  </a:cubicBezTo>
                  <a:cubicBezTo>
                    <a:pt x="0" y="213"/>
                    <a:pt x="77" y="0"/>
                    <a:pt x="312" y="0"/>
                  </a:cubicBezTo>
                  <a:cubicBezTo>
                    <a:pt x="376" y="0"/>
                    <a:pt x="449" y="29"/>
                    <a:pt x="504" y="7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710" y="389"/>
                    <a:pt x="710" y="389"/>
                    <a:pt x="710" y="389"/>
                  </a:cubicBezTo>
                  <a:cubicBezTo>
                    <a:pt x="611" y="446"/>
                    <a:pt x="611" y="446"/>
                    <a:pt x="611" y="446"/>
                  </a:cubicBezTo>
                  <a:cubicBezTo>
                    <a:pt x="527" y="252"/>
                    <a:pt x="463" y="161"/>
                    <a:pt x="346" y="161"/>
                  </a:cubicBezTo>
                  <a:cubicBezTo>
                    <a:pt x="259" y="161"/>
                    <a:pt x="220" y="259"/>
                    <a:pt x="220" y="330"/>
                  </a:cubicBezTo>
                  <a:cubicBezTo>
                    <a:pt x="220" y="673"/>
                    <a:pt x="792" y="405"/>
                    <a:pt x="792" y="965"/>
                  </a:cubicBezTo>
                  <a:cubicBezTo>
                    <a:pt x="792" y="1438"/>
                    <a:pt x="418" y="1424"/>
                    <a:pt x="418" y="14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78"/>
            <p:cNvSpPr>
              <a:spLocks/>
            </p:cNvSpPr>
            <p:nvPr/>
          </p:nvSpPr>
          <p:spPr bwMode="auto">
            <a:xfrm>
              <a:off x="4050171" y="6099955"/>
              <a:ext cx="153136" cy="225510"/>
            </a:xfrm>
            <a:custGeom>
              <a:avLst/>
              <a:gdLst>
                <a:gd name="T0" fmla="*/ 843 w 938"/>
                <a:gd name="T1" fmla="*/ 0 h 1380"/>
                <a:gd name="T2" fmla="*/ 938 w 938"/>
                <a:gd name="T3" fmla="*/ 383 h 1380"/>
                <a:gd name="T4" fmla="*/ 817 w 938"/>
                <a:gd name="T5" fmla="*/ 443 h 1380"/>
                <a:gd name="T6" fmla="*/ 592 w 938"/>
                <a:gd name="T7" fmla="*/ 166 h 1380"/>
                <a:gd name="T8" fmla="*/ 592 w 938"/>
                <a:gd name="T9" fmla="*/ 1150 h 1380"/>
                <a:gd name="T10" fmla="*/ 708 w 938"/>
                <a:gd name="T11" fmla="*/ 1265 h 1380"/>
                <a:gd name="T12" fmla="*/ 708 w 938"/>
                <a:gd name="T13" fmla="*/ 1380 h 1380"/>
                <a:gd name="T14" fmla="*/ 230 w 938"/>
                <a:gd name="T15" fmla="*/ 1380 h 1380"/>
                <a:gd name="T16" fmla="*/ 230 w 938"/>
                <a:gd name="T17" fmla="*/ 1265 h 1380"/>
                <a:gd name="T18" fmla="*/ 346 w 938"/>
                <a:gd name="T19" fmla="*/ 1150 h 1380"/>
                <a:gd name="T20" fmla="*/ 346 w 938"/>
                <a:gd name="T21" fmla="*/ 166 h 1380"/>
                <a:gd name="T22" fmla="*/ 121 w 938"/>
                <a:gd name="T23" fmla="*/ 443 h 1380"/>
                <a:gd name="T24" fmla="*/ 0 w 938"/>
                <a:gd name="T25" fmla="*/ 383 h 1380"/>
                <a:gd name="T26" fmla="*/ 94 w 938"/>
                <a:gd name="T27" fmla="*/ 0 h 1380"/>
                <a:gd name="T28" fmla="*/ 843 w 938"/>
                <a:gd name="T29" fmla="*/ 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8" h="1380">
                  <a:moveTo>
                    <a:pt x="843" y="0"/>
                  </a:moveTo>
                  <a:cubicBezTo>
                    <a:pt x="938" y="383"/>
                    <a:pt x="938" y="383"/>
                    <a:pt x="938" y="383"/>
                  </a:cubicBezTo>
                  <a:cubicBezTo>
                    <a:pt x="817" y="443"/>
                    <a:pt x="817" y="443"/>
                    <a:pt x="817" y="443"/>
                  </a:cubicBezTo>
                  <a:cubicBezTo>
                    <a:pt x="698" y="145"/>
                    <a:pt x="615" y="166"/>
                    <a:pt x="592" y="166"/>
                  </a:cubicBezTo>
                  <a:cubicBezTo>
                    <a:pt x="592" y="1150"/>
                    <a:pt x="592" y="1150"/>
                    <a:pt x="592" y="1150"/>
                  </a:cubicBezTo>
                  <a:cubicBezTo>
                    <a:pt x="592" y="1214"/>
                    <a:pt x="644" y="1265"/>
                    <a:pt x="708" y="1265"/>
                  </a:cubicBezTo>
                  <a:cubicBezTo>
                    <a:pt x="708" y="1380"/>
                    <a:pt x="708" y="1380"/>
                    <a:pt x="708" y="1380"/>
                  </a:cubicBezTo>
                  <a:cubicBezTo>
                    <a:pt x="230" y="1380"/>
                    <a:pt x="230" y="1380"/>
                    <a:pt x="230" y="1380"/>
                  </a:cubicBezTo>
                  <a:cubicBezTo>
                    <a:pt x="230" y="1265"/>
                    <a:pt x="230" y="1265"/>
                    <a:pt x="230" y="1265"/>
                  </a:cubicBezTo>
                  <a:cubicBezTo>
                    <a:pt x="294" y="1265"/>
                    <a:pt x="346" y="1214"/>
                    <a:pt x="346" y="1150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23" y="166"/>
                    <a:pt x="240" y="145"/>
                    <a:pt x="121" y="44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8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9"/>
            <p:cNvSpPr>
              <a:spLocks/>
            </p:cNvSpPr>
            <p:nvPr/>
          </p:nvSpPr>
          <p:spPr bwMode="auto">
            <a:xfrm>
              <a:off x="5022167" y="6099955"/>
              <a:ext cx="153136" cy="225510"/>
            </a:xfrm>
            <a:custGeom>
              <a:avLst/>
              <a:gdLst>
                <a:gd name="T0" fmla="*/ 843 w 938"/>
                <a:gd name="T1" fmla="*/ 0 h 1380"/>
                <a:gd name="T2" fmla="*/ 938 w 938"/>
                <a:gd name="T3" fmla="*/ 383 h 1380"/>
                <a:gd name="T4" fmla="*/ 817 w 938"/>
                <a:gd name="T5" fmla="*/ 443 h 1380"/>
                <a:gd name="T6" fmla="*/ 591 w 938"/>
                <a:gd name="T7" fmla="*/ 166 h 1380"/>
                <a:gd name="T8" fmla="*/ 591 w 938"/>
                <a:gd name="T9" fmla="*/ 1150 h 1380"/>
                <a:gd name="T10" fmla="*/ 708 w 938"/>
                <a:gd name="T11" fmla="*/ 1265 h 1380"/>
                <a:gd name="T12" fmla="*/ 708 w 938"/>
                <a:gd name="T13" fmla="*/ 1380 h 1380"/>
                <a:gd name="T14" fmla="*/ 229 w 938"/>
                <a:gd name="T15" fmla="*/ 1380 h 1380"/>
                <a:gd name="T16" fmla="*/ 229 w 938"/>
                <a:gd name="T17" fmla="*/ 1265 h 1380"/>
                <a:gd name="T18" fmla="*/ 346 w 938"/>
                <a:gd name="T19" fmla="*/ 1150 h 1380"/>
                <a:gd name="T20" fmla="*/ 346 w 938"/>
                <a:gd name="T21" fmla="*/ 166 h 1380"/>
                <a:gd name="T22" fmla="*/ 120 w 938"/>
                <a:gd name="T23" fmla="*/ 443 h 1380"/>
                <a:gd name="T24" fmla="*/ 0 w 938"/>
                <a:gd name="T25" fmla="*/ 383 h 1380"/>
                <a:gd name="T26" fmla="*/ 94 w 938"/>
                <a:gd name="T27" fmla="*/ 0 h 1380"/>
                <a:gd name="T28" fmla="*/ 843 w 938"/>
                <a:gd name="T29" fmla="*/ 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8" h="1380">
                  <a:moveTo>
                    <a:pt x="843" y="0"/>
                  </a:moveTo>
                  <a:cubicBezTo>
                    <a:pt x="938" y="383"/>
                    <a:pt x="938" y="383"/>
                    <a:pt x="938" y="383"/>
                  </a:cubicBezTo>
                  <a:cubicBezTo>
                    <a:pt x="817" y="443"/>
                    <a:pt x="817" y="443"/>
                    <a:pt x="817" y="443"/>
                  </a:cubicBezTo>
                  <a:cubicBezTo>
                    <a:pt x="698" y="145"/>
                    <a:pt x="614" y="166"/>
                    <a:pt x="591" y="166"/>
                  </a:cubicBezTo>
                  <a:cubicBezTo>
                    <a:pt x="591" y="1150"/>
                    <a:pt x="591" y="1150"/>
                    <a:pt x="591" y="1150"/>
                  </a:cubicBezTo>
                  <a:cubicBezTo>
                    <a:pt x="591" y="1214"/>
                    <a:pt x="644" y="1265"/>
                    <a:pt x="708" y="1265"/>
                  </a:cubicBezTo>
                  <a:cubicBezTo>
                    <a:pt x="708" y="1380"/>
                    <a:pt x="708" y="1380"/>
                    <a:pt x="708" y="1380"/>
                  </a:cubicBezTo>
                  <a:cubicBezTo>
                    <a:pt x="229" y="1380"/>
                    <a:pt x="229" y="1380"/>
                    <a:pt x="229" y="1380"/>
                  </a:cubicBezTo>
                  <a:cubicBezTo>
                    <a:pt x="229" y="1265"/>
                    <a:pt x="229" y="1265"/>
                    <a:pt x="229" y="1265"/>
                  </a:cubicBezTo>
                  <a:cubicBezTo>
                    <a:pt x="293" y="1265"/>
                    <a:pt x="346" y="1214"/>
                    <a:pt x="346" y="1150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23" y="166"/>
                    <a:pt x="240" y="145"/>
                    <a:pt x="120" y="44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8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0"/>
            <p:cNvSpPr>
              <a:spLocks/>
            </p:cNvSpPr>
            <p:nvPr/>
          </p:nvSpPr>
          <p:spPr bwMode="auto">
            <a:xfrm>
              <a:off x="5830505" y="6099955"/>
              <a:ext cx="153278" cy="225510"/>
            </a:xfrm>
            <a:custGeom>
              <a:avLst/>
              <a:gdLst>
                <a:gd name="T0" fmla="*/ 843 w 938"/>
                <a:gd name="T1" fmla="*/ 0 h 1380"/>
                <a:gd name="T2" fmla="*/ 938 w 938"/>
                <a:gd name="T3" fmla="*/ 383 h 1380"/>
                <a:gd name="T4" fmla="*/ 817 w 938"/>
                <a:gd name="T5" fmla="*/ 443 h 1380"/>
                <a:gd name="T6" fmla="*/ 591 w 938"/>
                <a:gd name="T7" fmla="*/ 166 h 1380"/>
                <a:gd name="T8" fmla="*/ 591 w 938"/>
                <a:gd name="T9" fmla="*/ 1150 h 1380"/>
                <a:gd name="T10" fmla="*/ 708 w 938"/>
                <a:gd name="T11" fmla="*/ 1265 h 1380"/>
                <a:gd name="T12" fmla="*/ 708 w 938"/>
                <a:gd name="T13" fmla="*/ 1380 h 1380"/>
                <a:gd name="T14" fmla="*/ 229 w 938"/>
                <a:gd name="T15" fmla="*/ 1380 h 1380"/>
                <a:gd name="T16" fmla="*/ 229 w 938"/>
                <a:gd name="T17" fmla="*/ 1265 h 1380"/>
                <a:gd name="T18" fmla="*/ 346 w 938"/>
                <a:gd name="T19" fmla="*/ 1150 h 1380"/>
                <a:gd name="T20" fmla="*/ 346 w 938"/>
                <a:gd name="T21" fmla="*/ 166 h 1380"/>
                <a:gd name="T22" fmla="*/ 120 w 938"/>
                <a:gd name="T23" fmla="*/ 443 h 1380"/>
                <a:gd name="T24" fmla="*/ 0 w 938"/>
                <a:gd name="T25" fmla="*/ 383 h 1380"/>
                <a:gd name="T26" fmla="*/ 94 w 938"/>
                <a:gd name="T27" fmla="*/ 0 h 1380"/>
                <a:gd name="T28" fmla="*/ 843 w 938"/>
                <a:gd name="T29" fmla="*/ 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8" h="1380">
                  <a:moveTo>
                    <a:pt x="843" y="0"/>
                  </a:moveTo>
                  <a:cubicBezTo>
                    <a:pt x="938" y="383"/>
                    <a:pt x="938" y="383"/>
                    <a:pt x="938" y="383"/>
                  </a:cubicBezTo>
                  <a:cubicBezTo>
                    <a:pt x="817" y="443"/>
                    <a:pt x="817" y="443"/>
                    <a:pt x="817" y="443"/>
                  </a:cubicBezTo>
                  <a:cubicBezTo>
                    <a:pt x="698" y="145"/>
                    <a:pt x="615" y="166"/>
                    <a:pt x="591" y="166"/>
                  </a:cubicBezTo>
                  <a:cubicBezTo>
                    <a:pt x="591" y="1150"/>
                    <a:pt x="591" y="1150"/>
                    <a:pt x="591" y="1150"/>
                  </a:cubicBezTo>
                  <a:cubicBezTo>
                    <a:pt x="591" y="1214"/>
                    <a:pt x="644" y="1265"/>
                    <a:pt x="708" y="1265"/>
                  </a:cubicBezTo>
                  <a:cubicBezTo>
                    <a:pt x="708" y="1380"/>
                    <a:pt x="708" y="1380"/>
                    <a:pt x="708" y="1380"/>
                  </a:cubicBezTo>
                  <a:cubicBezTo>
                    <a:pt x="229" y="1380"/>
                    <a:pt x="229" y="1380"/>
                    <a:pt x="229" y="1380"/>
                  </a:cubicBezTo>
                  <a:cubicBezTo>
                    <a:pt x="229" y="1265"/>
                    <a:pt x="229" y="1265"/>
                    <a:pt x="229" y="1265"/>
                  </a:cubicBezTo>
                  <a:cubicBezTo>
                    <a:pt x="293" y="1265"/>
                    <a:pt x="346" y="1214"/>
                    <a:pt x="346" y="1150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23" y="166"/>
                    <a:pt x="240" y="145"/>
                    <a:pt x="120" y="44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8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1"/>
            <p:cNvSpPr>
              <a:spLocks/>
            </p:cNvSpPr>
            <p:nvPr/>
          </p:nvSpPr>
          <p:spPr bwMode="auto">
            <a:xfrm>
              <a:off x="3735367" y="6099955"/>
              <a:ext cx="161099" cy="229064"/>
            </a:xfrm>
            <a:custGeom>
              <a:avLst/>
              <a:gdLst>
                <a:gd name="T0" fmla="*/ 874 w 987"/>
                <a:gd name="T1" fmla="*/ 826 h 1402"/>
                <a:gd name="T2" fmla="*/ 809 w 987"/>
                <a:gd name="T3" fmla="*/ 1263 h 1402"/>
                <a:gd name="T4" fmla="*/ 505 w 987"/>
                <a:gd name="T5" fmla="*/ 1402 h 1402"/>
                <a:gd name="T6" fmla="*/ 219 w 987"/>
                <a:gd name="T7" fmla="*/ 1288 h 1402"/>
                <a:gd name="T8" fmla="*/ 116 w 987"/>
                <a:gd name="T9" fmla="*/ 869 h 1402"/>
                <a:gd name="T10" fmla="*/ 116 w 987"/>
                <a:gd name="T11" fmla="*/ 227 h 1402"/>
                <a:gd name="T12" fmla="*/ 0 w 987"/>
                <a:gd name="T13" fmla="*/ 113 h 1402"/>
                <a:gd name="T14" fmla="*/ 0 w 987"/>
                <a:gd name="T15" fmla="*/ 0 h 1402"/>
                <a:gd name="T16" fmla="*/ 473 w 987"/>
                <a:gd name="T17" fmla="*/ 0 h 1402"/>
                <a:gd name="T18" fmla="*/ 473 w 987"/>
                <a:gd name="T19" fmla="*/ 113 h 1402"/>
                <a:gd name="T20" fmla="*/ 358 w 987"/>
                <a:gd name="T21" fmla="*/ 227 h 1402"/>
                <a:gd name="T22" fmla="*/ 358 w 987"/>
                <a:gd name="T23" fmla="*/ 878 h 1402"/>
                <a:gd name="T24" fmla="*/ 381 w 987"/>
                <a:gd name="T25" fmla="*/ 1176 h 1402"/>
                <a:gd name="T26" fmla="*/ 531 w 987"/>
                <a:gd name="T27" fmla="*/ 1242 h 1402"/>
                <a:gd name="T28" fmla="*/ 678 w 987"/>
                <a:gd name="T29" fmla="*/ 1157 h 1402"/>
                <a:gd name="T30" fmla="*/ 722 w 987"/>
                <a:gd name="T31" fmla="*/ 885 h 1402"/>
                <a:gd name="T32" fmla="*/ 722 w 987"/>
                <a:gd name="T33" fmla="*/ 315 h 1402"/>
                <a:gd name="T34" fmla="*/ 707 w 987"/>
                <a:gd name="T35" fmla="*/ 164 h 1402"/>
                <a:gd name="T36" fmla="*/ 609 w 987"/>
                <a:gd name="T37" fmla="*/ 113 h 1402"/>
                <a:gd name="T38" fmla="*/ 598 w 987"/>
                <a:gd name="T39" fmla="*/ 113 h 1402"/>
                <a:gd name="T40" fmla="*/ 598 w 987"/>
                <a:gd name="T41" fmla="*/ 0 h 1402"/>
                <a:gd name="T42" fmla="*/ 987 w 987"/>
                <a:gd name="T43" fmla="*/ 0 h 1402"/>
                <a:gd name="T44" fmla="*/ 987 w 987"/>
                <a:gd name="T45" fmla="*/ 113 h 1402"/>
                <a:gd name="T46" fmla="*/ 874 w 987"/>
                <a:gd name="T47" fmla="*/ 317 h 1402"/>
                <a:gd name="T48" fmla="*/ 874 w 987"/>
                <a:gd name="T49" fmla="*/ 826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87" h="1402">
                  <a:moveTo>
                    <a:pt x="874" y="826"/>
                  </a:moveTo>
                  <a:cubicBezTo>
                    <a:pt x="874" y="980"/>
                    <a:pt x="894" y="1148"/>
                    <a:pt x="809" y="1263"/>
                  </a:cubicBezTo>
                  <a:cubicBezTo>
                    <a:pt x="728" y="1371"/>
                    <a:pt x="611" y="1402"/>
                    <a:pt x="505" y="1402"/>
                  </a:cubicBezTo>
                  <a:cubicBezTo>
                    <a:pt x="407" y="1402"/>
                    <a:pt x="298" y="1375"/>
                    <a:pt x="219" y="1288"/>
                  </a:cubicBezTo>
                  <a:cubicBezTo>
                    <a:pt x="116" y="1177"/>
                    <a:pt x="113" y="1038"/>
                    <a:pt x="116" y="869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164"/>
                    <a:pt x="64" y="113"/>
                    <a:pt x="0" y="1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473" y="113"/>
                    <a:pt x="473" y="113"/>
                    <a:pt x="473" y="113"/>
                  </a:cubicBezTo>
                  <a:cubicBezTo>
                    <a:pt x="410" y="113"/>
                    <a:pt x="358" y="164"/>
                    <a:pt x="358" y="227"/>
                  </a:cubicBezTo>
                  <a:cubicBezTo>
                    <a:pt x="358" y="878"/>
                    <a:pt x="358" y="878"/>
                    <a:pt x="358" y="878"/>
                  </a:cubicBezTo>
                  <a:cubicBezTo>
                    <a:pt x="358" y="1105"/>
                    <a:pt x="348" y="1106"/>
                    <a:pt x="381" y="1176"/>
                  </a:cubicBezTo>
                  <a:cubicBezTo>
                    <a:pt x="388" y="1190"/>
                    <a:pt x="426" y="1242"/>
                    <a:pt x="531" y="1242"/>
                  </a:cubicBezTo>
                  <a:cubicBezTo>
                    <a:pt x="586" y="1242"/>
                    <a:pt x="639" y="1217"/>
                    <a:pt x="678" y="1157"/>
                  </a:cubicBezTo>
                  <a:cubicBezTo>
                    <a:pt x="724" y="1087"/>
                    <a:pt x="722" y="976"/>
                    <a:pt x="722" y="885"/>
                  </a:cubicBezTo>
                  <a:cubicBezTo>
                    <a:pt x="722" y="315"/>
                    <a:pt x="722" y="315"/>
                    <a:pt x="722" y="315"/>
                  </a:cubicBezTo>
                  <a:cubicBezTo>
                    <a:pt x="722" y="274"/>
                    <a:pt x="724" y="199"/>
                    <a:pt x="707" y="164"/>
                  </a:cubicBezTo>
                  <a:cubicBezTo>
                    <a:pt x="689" y="129"/>
                    <a:pt x="636" y="117"/>
                    <a:pt x="609" y="113"/>
                  </a:cubicBezTo>
                  <a:cubicBezTo>
                    <a:pt x="598" y="113"/>
                    <a:pt x="598" y="113"/>
                    <a:pt x="598" y="113"/>
                  </a:cubicBezTo>
                  <a:cubicBezTo>
                    <a:pt x="598" y="0"/>
                    <a:pt x="598" y="0"/>
                    <a:pt x="598" y="0"/>
                  </a:cubicBezTo>
                  <a:cubicBezTo>
                    <a:pt x="987" y="0"/>
                    <a:pt x="987" y="0"/>
                    <a:pt x="987" y="0"/>
                  </a:cubicBezTo>
                  <a:cubicBezTo>
                    <a:pt x="987" y="113"/>
                    <a:pt x="987" y="113"/>
                    <a:pt x="987" y="113"/>
                  </a:cubicBezTo>
                  <a:cubicBezTo>
                    <a:pt x="877" y="127"/>
                    <a:pt x="874" y="168"/>
                    <a:pt x="874" y="317"/>
                  </a:cubicBezTo>
                  <a:lnTo>
                    <a:pt x="874" y="82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2"/>
            <p:cNvSpPr>
              <a:spLocks noEditPoints="1"/>
            </p:cNvSpPr>
            <p:nvPr/>
          </p:nvSpPr>
          <p:spPr bwMode="auto">
            <a:xfrm>
              <a:off x="3566306" y="6099671"/>
              <a:ext cx="168919" cy="225510"/>
            </a:xfrm>
            <a:custGeom>
              <a:avLst/>
              <a:gdLst>
                <a:gd name="T0" fmla="*/ 373 w 1034"/>
                <a:gd name="T1" fmla="*/ 911 h 1380"/>
                <a:gd name="T2" fmla="*/ 306 w 1034"/>
                <a:gd name="T3" fmla="*/ 1153 h 1380"/>
                <a:gd name="T4" fmla="*/ 420 w 1034"/>
                <a:gd name="T5" fmla="*/ 1267 h 1380"/>
                <a:gd name="T6" fmla="*/ 420 w 1034"/>
                <a:gd name="T7" fmla="*/ 1380 h 1380"/>
                <a:gd name="T8" fmla="*/ 0 w 1034"/>
                <a:gd name="T9" fmla="*/ 1380 h 1380"/>
                <a:gd name="T10" fmla="*/ 0 w 1034"/>
                <a:gd name="T11" fmla="*/ 1267 h 1380"/>
                <a:gd name="T12" fmla="*/ 114 w 1034"/>
                <a:gd name="T13" fmla="*/ 1153 h 1380"/>
                <a:gd name="T14" fmla="*/ 418 w 1034"/>
                <a:gd name="T15" fmla="*/ 0 h 1380"/>
                <a:gd name="T16" fmla="*/ 651 w 1034"/>
                <a:gd name="T17" fmla="*/ 0 h 1380"/>
                <a:gd name="T18" fmla="*/ 966 w 1034"/>
                <a:gd name="T19" fmla="*/ 1186 h 1380"/>
                <a:gd name="T20" fmla="*/ 1034 w 1034"/>
                <a:gd name="T21" fmla="*/ 1267 h 1380"/>
                <a:gd name="T22" fmla="*/ 1034 w 1034"/>
                <a:gd name="T23" fmla="*/ 1267 h 1380"/>
                <a:gd name="T24" fmla="*/ 1034 w 1034"/>
                <a:gd name="T25" fmla="*/ 1380 h 1380"/>
                <a:gd name="T26" fmla="*/ 582 w 1034"/>
                <a:gd name="T27" fmla="*/ 1380 h 1380"/>
                <a:gd name="T28" fmla="*/ 582 w 1034"/>
                <a:gd name="T29" fmla="*/ 1267 h 1380"/>
                <a:gd name="T30" fmla="*/ 697 w 1034"/>
                <a:gd name="T31" fmla="*/ 1153 h 1380"/>
                <a:gd name="T32" fmla="*/ 630 w 1034"/>
                <a:gd name="T33" fmla="*/ 911 h 1380"/>
                <a:gd name="T34" fmla="*/ 373 w 1034"/>
                <a:gd name="T35" fmla="*/ 911 h 1380"/>
                <a:gd name="T36" fmla="*/ 592 w 1034"/>
                <a:gd name="T37" fmla="*/ 767 h 1380"/>
                <a:gd name="T38" fmla="*/ 501 w 1034"/>
                <a:gd name="T39" fmla="*/ 417 h 1380"/>
                <a:gd name="T40" fmla="*/ 410 w 1034"/>
                <a:gd name="T41" fmla="*/ 767 h 1380"/>
                <a:gd name="T42" fmla="*/ 592 w 1034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4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4" y="1212"/>
                    <a:pt x="357" y="1267"/>
                    <a:pt x="420" y="1267"/>
                  </a:cubicBezTo>
                  <a:cubicBezTo>
                    <a:pt x="420" y="1380"/>
                    <a:pt x="420" y="1380"/>
                    <a:pt x="420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5" y="1222"/>
                    <a:pt x="1001" y="1252"/>
                    <a:pt x="1034" y="1267"/>
                  </a:cubicBezTo>
                  <a:cubicBezTo>
                    <a:pt x="1034" y="1267"/>
                    <a:pt x="1034" y="1267"/>
                    <a:pt x="1034" y="1267"/>
                  </a:cubicBezTo>
                  <a:cubicBezTo>
                    <a:pt x="1034" y="1380"/>
                    <a:pt x="1034" y="1380"/>
                    <a:pt x="1034" y="1380"/>
                  </a:cubicBezTo>
                  <a:cubicBezTo>
                    <a:pt x="582" y="1380"/>
                    <a:pt x="582" y="1380"/>
                    <a:pt x="582" y="1380"/>
                  </a:cubicBezTo>
                  <a:cubicBezTo>
                    <a:pt x="582" y="1267"/>
                    <a:pt x="582" y="1267"/>
                    <a:pt x="582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2" y="767"/>
                  </a:moveTo>
                  <a:cubicBezTo>
                    <a:pt x="501" y="417"/>
                    <a:pt x="501" y="417"/>
                    <a:pt x="501" y="417"/>
                  </a:cubicBezTo>
                  <a:cubicBezTo>
                    <a:pt x="410" y="767"/>
                    <a:pt x="410" y="767"/>
                    <a:pt x="410" y="767"/>
                  </a:cubicBezTo>
                  <a:lnTo>
                    <a:pt x="592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3"/>
            <p:cNvSpPr>
              <a:spLocks noEditPoints="1"/>
            </p:cNvSpPr>
            <p:nvPr/>
          </p:nvSpPr>
          <p:spPr bwMode="auto">
            <a:xfrm>
              <a:off x="6425134" y="6099671"/>
              <a:ext cx="168919" cy="225510"/>
            </a:xfrm>
            <a:custGeom>
              <a:avLst/>
              <a:gdLst>
                <a:gd name="T0" fmla="*/ 373 w 1035"/>
                <a:gd name="T1" fmla="*/ 911 h 1380"/>
                <a:gd name="T2" fmla="*/ 306 w 1035"/>
                <a:gd name="T3" fmla="*/ 1153 h 1380"/>
                <a:gd name="T4" fmla="*/ 421 w 1035"/>
                <a:gd name="T5" fmla="*/ 1267 h 1380"/>
                <a:gd name="T6" fmla="*/ 421 w 1035"/>
                <a:gd name="T7" fmla="*/ 1380 h 1380"/>
                <a:gd name="T8" fmla="*/ 0 w 1035"/>
                <a:gd name="T9" fmla="*/ 1380 h 1380"/>
                <a:gd name="T10" fmla="*/ 0 w 1035"/>
                <a:gd name="T11" fmla="*/ 1267 h 1380"/>
                <a:gd name="T12" fmla="*/ 114 w 1035"/>
                <a:gd name="T13" fmla="*/ 1153 h 1380"/>
                <a:gd name="T14" fmla="*/ 419 w 1035"/>
                <a:gd name="T15" fmla="*/ 0 h 1380"/>
                <a:gd name="T16" fmla="*/ 652 w 1035"/>
                <a:gd name="T17" fmla="*/ 0 h 1380"/>
                <a:gd name="T18" fmla="*/ 966 w 1035"/>
                <a:gd name="T19" fmla="*/ 1186 h 1380"/>
                <a:gd name="T20" fmla="*/ 1035 w 1035"/>
                <a:gd name="T21" fmla="*/ 1267 h 1380"/>
                <a:gd name="T22" fmla="*/ 1035 w 1035"/>
                <a:gd name="T23" fmla="*/ 1267 h 1380"/>
                <a:gd name="T24" fmla="*/ 1034 w 1035"/>
                <a:gd name="T25" fmla="*/ 1380 h 1380"/>
                <a:gd name="T26" fmla="*/ 583 w 1035"/>
                <a:gd name="T27" fmla="*/ 1380 h 1380"/>
                <a:gd name="T28" fmla="*/ 583 w 1035"/>
                <a:gd name="T29" fmla="*/ 1267 h 1380"/>
                <a:gd name="T30" fmla="*/ 697 w 1035"/>
                <a:gd name="T31" fmla="*/ 1153 h 1380"/>
                <a:gd name="T32" fmla="*/ 630 w 1035"/>
                <a:gd name="T33" fmla="*/ 911 h 1380"/>
                <a:gd name="T34" fmla="*/ 373 w 1035"/>
                <a:gd name="T35" fmla="*/ 911 h 1380"/>
                <a:gd name="T36" fmla="*/ 593 w 1035"/>
                <a:gd name="T37" fmla="*/ 767 h 1380"/>
                <a:gd name="T38" fmla="*/ 502 w 1035"/>
                <a:gd name="T39" fmla="*/ 417 h 1380"/>
                <a:gd name="T40" fmla="*/ 411 w 1035"/>
                <a:gd name="T41" fmla="*/ 767 h 1380"/>
                <a:gd name="T42" fmla="*/ 593 w 1035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5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4" y="1212"/>
                    <a:pt x="358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5" y="1267"/>
                  </a:cubicBezTo>
                  <a:cubicBezTo>
                    <a:pt x="1035" y="1267"/>
                    <a:pt x="1035" y="1267"/>
                    <a:pt x="1035" y="1267"/>
                  </a:cubicBezTo>
                  <a:cubicBezTo>
                    <a:pt x="1034" y="1380"/>
                    <a:pt x="1034" y="1380"/>
                    <a:pt x="1034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4"/>
            <p:cNvSpPr>
              <a:spLocks noEditPoints="1"/>
            </p:cNvSpPr>
            <p:nvPr/>
          </p:nvSpPr>
          <p:spPr bwMode="auto">
            <a:xfrm>
              <a:off x="5675520" y="6099671"/>
              <a:ext cx="168919" cy="225510"/>
            </a:xfrm>
            <a:custGeom>
              <a:avLst/>
              <a:gdLst>
                <a:gd name="T0" fmla="*/ 373 w 1035"/>
                <a:gd name="T1" fmla="*/ 911 h 1380"/>
                <a:gd name="T2" fmla="*/ 306 w 1035"/>
                <a:gd name="T3" fmla="*/ 1153 h 1380"/>
                <a:gd name="T4" fmla="*/ 421 w 1035"/>
                <a:gd name="T5" fmla="*/ 1267 h 1380"/>
                <a:gd name="T6" fmla="*/ 421 w 1035"/>
                <a:gd name="T7" fmla="*/ 1380 h 1380"/>
                <a:gd name="T8" fmla="*/ 0 w 1035"/>
                <a:gd name="T9" fmla="*/ 1380 h 1380"/>
                <a:gd name="T10" fmla="*/ 0 w 1035"/>
                <a:gd name="T11" fmla="*/ 1267 h 1380"/>
                <a:gd name="T12" fmla="*/ 114 w 1035"/>
                <a:gd name="T13" fmla="*/ 1153 h 1380"/>
                <a:gd name="T14" fmla="*/ 419 w 1035"/>
                <a:gd name="T15" fmla="*/ 0 h 1380"/>
                <a:gd name="T16" fmla="*/ 652 w 1035"/>
                <a:gd name="T17" fmla="*/ 0 h 1380"/>
                <a:gd name="T18" fmla="*/ 966 w 1035"/>
                <a:gd name="T19" fmla="*/ 1186 h 1380"/>
                <a:gd name="T20" fmla="*/ 1035 w 1035"/>
                <a:gd name="T21" fmla="*/ 1267 h 1380"/>
                <a:gd name="T22" fmla="*/ 1035 w 1035"/>
                <a:gd name="T23" fmla="*/ 1267 h 1380"/>
                <a:gd name="T24" fmla="*/ 1035 w 1035"/>
                <a:gd name="T25" fmla="*/ 1380 h 1380"/>
                <a:gd name="T26" fmla="*/ 583 w 1035"/>
                <a:gd name="T27" fmla="*/ 1380 h 1380"/>
                <a:gd name="T28" fmla="*/ 583 w 1035"/>
                <a:gd name="T29" fmla="*/ 1267 h 1380"/>
                <a:gd name="T30" fmla="*/ 697 w 1035"/>
                <a:gd name="T31" fmla="*/ 1153 h 1380"/>
                <a:gd name="T32" fmla="*/ 630 w 1035"/>
                <a:gd name="T33" fmla="*/ 911 h 1380"/>
                <a:gd name="T34" fmla="*/ 373 w 1035"/>
                <a:gd name="T35" fmla="*/ 911 h 1380"/>
                <a:gd name="T36" fmla="*/ 593 w 1035"/>
                <a:gd name="T37" fmla="*/ 767 h 1380"/>
                <a:gd name="T38" fmla="*/ 502 w 1035"/>
                <a:gd name="T39" fmla="*/ 417 h 1380"/>
                <a:gd name="T40" fmla="*/ 411 w 1035"/>
                <a:gd name="T41" fmla="*/ 767 h 1380"/>
                <a:gd name="T42" fmla="*/ 593 w 1035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5" h="1380">
                  <a:moveTo>
                    <a:pt x="373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5" y="1212"/>
                    <a:pt x="358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99" y="1207"/>
                    <a:pt x="114" y="1153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5" y="1267"/>
                  </a:cubicBezTo>
                  <a:cubicBezTo>
                    <a:pt x="1035" y="1267"/>
                    <a:pt x="1035" y="1267"/>
                    <a:pt x="1035" y="1267"/>
                  </a:cubicBezTo>
                  <a:cubicBezTo>
                    <a:pt x="1035" y="1380"/>
                    <a:pt x="1035" y="1380"/>
                    <a:pt x="1035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7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3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5"/>
            <p:cNvSpPr>
              <a:spLocks noEditPoints="1"/>
            </p:cNvSpPr>
            <p:nvPr/>
          </p:nvSpPr>
          <p:spPr bwMode="auto">
            <a:xfrm>
              <a:off x="4488536" y="6099671"/>
              <a:ext cx="169061" cy="225510"/>
            </a:xfrm>
            <a:custGeom>
              <a:avLst/>
              <a:gdLst>
                <a:gd name="T0" fmla="*/ 374 w 1035"/>
                <a:gd name="T1" fmla="*/ 911 h 1380"/>
                <a:gd name="T2" fmla="*/ 306 w 1035"/>
                <a:gd name="T3" fmla="*/ 1153 h 1380"/>
                <a:gd name="T4" fmla="*/ 421 w 1035"/>
                <a:gd name="T5" fmla="*/ 1267 h 1380"/>
                <a:gd name="T6" fmla="*/ 421 w 1035"/>
                <a:gd name="T7" fmla="*/ 1380 h 1380"/>
                <a:gd name="T8" fmla="*/ 0 w 1035"/>
                <a:gd name="T9" fmla="*/ 1380 h 1380"/>
                <a:gd name="T10" fmla="*/ 0 w 1035"/>
                <a:gd name="T11" fmla="*/ 1267 h 1380"/>
                <a:gd name="T12" fmla="*/ 115 w 1035"/>
                <a:gd name="T13" fmla="*/ 1153 h 1380"/>
                <a:gd name="T14" fmla="*/ 419 w 1035"/>
                <a:gd name="T15" fmla="*/ 0 h 1380"/>
                <a:gd name="T16" fmla="*/ 652 w 1035"/>
                <a:gd name="T17" fmla="*/ 0 h 1380"/>
                <a:gd name="T18" fmla="*/ 966 w 1035"/>
                <a:gd name="T19" fmla="*/ 1186 h 1380"/>
                <a:gd name="T20" fmla="*/ 1035 w 1035"/>
                <a:gd name="T21" fmla="*/ 1267 h 1380"/>
                <a:gd name="T22" fmla="*/ 1035 w 1035"/>
                <a:gd name="T23" fmla="*/ 1267 h 1380"/>
                <a:gd name="T24" fmla="*/ 1035 w 1035"/>
                <a:gd name="T25" fmla="*/ 1380 h 1380"/>
                <a:gd name="T26" fmla="*/ 583 w 1035"/>
                <a:gd name="T27" fmla="*/ 1380 h 1380"/>
                <a:gd name="T28" fmla="*/ 583 w 1035"/>
                <a:gd name="T29" fmla="*/ 1267 h 1380"/>
                <a:gd name="T30" fmla="*/ 698 w 1035"/>
                <a:gd name="T31" fmla="*/ 1153 h 1380"/>
                <a:gd name="T32" fmla="*/ 630 w 1035"/>
                <a:gd name="T33" fmla="*/ 911 h 1380"/>
                <a:gd name="T34" fmla="*/ 374 w 1035"/>
                <a:gd name="T35" fmla="*/ 911 h 1380"/>
                <a:gd name="T36" fmla="*/ 593 w 1035"/>
                <a:gd name="T37" fmla="*/ 767 h 1380"/>
                <a:gd name="T38" fmla="*/ 502 w 1035"/>
                <a:gd name="T39" fmla="*/ 417 h 1380"/>
                <a:gd name="T40" fmla="*/ 411 w 1035"/>
                <a:gd name="T41" fmla="*/ 767 h 1380"/>
                <a:gd name="T42" fmla="*/ 593 w 1035"/>
                <a:gd name="T43" fmla="*/ 767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5" h="1380">
                  <a:moveTo>
                    <a:pt x="374" y="911"/>
                  </a:moveTo>
                  <a:cubicBezTo>
                    <a:pt x="306" y="1153"/>
                    <a:pt x="306" y="1153"/>
                    <a:pt x="306" y="1153"/>
                  </a:cubicBezTo>
                  <a:cubicBezTo>
                    <a:pt x="295" y="1212"/>
                    <a:pt x="358" y="1267"/>
                    <a:pt x="421" y="1267"/>
                  </a:cubicBezTo>
                  <a:cubicBezTo>
                    <a:pt x="421" y="1380"/>
                    <a:pt x="421" y="1380"/>
                    <a:pt x="421" y="1380"/>
                  </a:cubicBezTo>
                  <a:cubicBezTo>
                    <a:pt x="0" y="1380"/>
                    <a:pt x="0" y="1380"/>
                    <a:pt x="0" y="1380"/>
                  </a:cubicBezTo>
                  <a:cubicBezTo>
                    <a:pt x="0" y="1267"/>
                    <a:pt x="0" y="1267"/>
                    <a:pt x="0" y="1267"/>
                  </a:cubicBezTo>
                  <a:cubicBezTo>
                    <a:pt x="63" y="1267"/>
                    <a:pt x="100" y="1207"/>
                    <a:pt x="115" y="1153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966" y="1186"/>
                    <a:pt x="966" y="1186"/>
                    <a:pt x="966" y="1186"/>
                  </a:cubicBezTo>
                  <a:cubicBezTo>
                    <a:pt x="976" y="1222"/>
                    <a:pt x="1001" y="1252"/>
                    <a:pt x="1035" y="1267"/>
                  </a:cubicBezTo>
                  <a:cubicBezTo>
                    <a:pt x="1035" y="1267"/>
                    <a:pt x="1035" y="1267"/>
                    <a:pt x="1035" y="1267"/>
                  </a:cubicBezTo>
                  <a:cubicBezTo>
                    <a:pt x="1035" y="1380"/>
                    <a:pt x="1035" y="1380"/>
                    <a:pt x="1035" y="1380"/>
                  </a:cubicBezTo>
                  <a:cubicBezTo>
                    <a:pt x="583" y="1380"/>
                    <a:pt x="583" y="1380"/>
                    <a:pt x="583" y="1380"/>
                  </a:cubicBezTo>
                  <a:cubicBezTo>
                    <a:pt x="583" y="1267"/>
                    <a:pt x="583" y="1267"/>
                    <a:pt x="583" y="1267"/>
                  </a:cubicBezTo>
                  <a:cubicBezTo>
                    <a:pt x="646" y="1267"/>
                    <a:pt x="709" y="1212"/>
                    <a:pt x="698" y="1153"/>
                  </a:cubicBezTo>
                  <a:cubicBezTo>
                    <a:pt x="630" y="911"/>
                    <a:pt x="630" y="911"/>
                    <a:pt x="630" y="911"/>
                  </a:cubicBezTo>
                  <a:lnTo>
                    <a:pt x="374" y="911"/>
                  </a:lnTo>
                  <a:close/>
                  <a:moveTo>
                    <a:pt x="593" y="767"/>
                  </a:moveTo>
                  <a:cubicBezTo>
                    <a:pt x="502" y="417"/>
                    <a:pt x="502" y="417"/>
                    <a:pt x="502" y="417"/>
                  </a:cubicBezTo>
                  <a:cubicBezTo>
                    <a:pt x="411" y="767"/>
                    <a:pt x="411" y="767"/>
                    <a:pt x="411" y="767"/>
                  </a:cubicBezTo>
                  <a:lnTo>
                    <a:pt x="593" y="7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6"/>
            <p:cNvSpPr>
              <a:spLocks/>
            </p:cNvSpPr>
            <p:nvPr/>
          </p:nvSpPr>
          <p:spPr bwMode="auto">
            <a:xfrm>
              <a:off x="3917083" y="6096258"/>
              <a:ext cx="129391" cy="234894"/>
            </a:xfrm>
            <a:custGeom>
              <a:avLst/>
              <a:gdLst>
                <a:gd name="T0" fmla="*/ 418 w 792"/>
                <a:gd name="T1" fmla="*/ 1424 h 1438"/>
                <a:gd name="T2" fmla="*/ 225 w 792"/>
                <a:gd name="T3" fmla="*/ 1360 h 1438"/>
                <a:gd name="T4" fmla="*/ 207 w 792"/>
                <a:gd name="T5" fmla="*/ 1402 h 1438"/>
                <a:gd name="T6" fmla="*/ 87 w 792"/>
                <a:gd name="T7" fmla="*/ 1402 h 1438"/>
                <a:gd name="T8" fmla="*/ 0 w 792"/>
                <a:gd name="T9" fmla="*/ 953 h 1438"/>
                <a:gd name="T10" fmla="*/ 113 w 792"/>
                <a:gd name="T11" fmla="*/ 889 h 1438"/>
                <a:gd name="T12" fmla="*/ 398 w 792"/>
                <a:gd name="T13" fmla="*/ 1261 h 1438"/>
                <a:gd name="T14" fmla="*/ 581 w 792"/>
                <a:gd name="T15" fmla="*/ 1043 h 1438"/>
                <a:gd name="T16" fmla="*/ 0 w 792"/>
                <a:gd name="T17" fmla="*/ 400 h 1438"/>
                <a:gd name="T18" fmla="*/ 311 w 792"/>
                <a:gd name="T19" fmla="*/ 0 h 1438"/>
                <a:gd name="T20" fmla="*/ 504 w 792"/>
                <a:gd name="T21" fmla="*/ 74 h 1438"/>
                <a:gd name="T22" fmla="*/ 522 w 792"/>
                <a:gd name="T23" fmla="*/ 32 h 1438"/>
                <a:gd name="T24" fmla="*/ 643 w 792"/>
                <a:gd name="T25" fmla="*/ 32 h 1438"/>
                <a:gd name="T26" fmla="*/ 709 w 792"/>
                <a:gd name="T27" fmla="*/ 389 h 1438"/>
                <a:gd name="T28" fmla="*/ 611 w 792"/>
                <a:gd name="T29" fmla="*/ 446 h 1438"/>
                <a:gd name="T30" fmla="*/ 346 w 792"/>
                <a:gd name="T31" fmla="*/ 161 h 1438"/>
                <a:gd name="T32" fmla="*/ 220 w 792"/>
                <a:gd name="T33" fmla="*/ 330 h 1438"/>
                <a:gd name="T34" fmla="*/ 792 w 792"/>
                <a:gd name="T35" fmla="*/ 965 h 1438"/>
                <a:gd name="T36" fmla="*/ 418 w 792"/>
                <a:gd name="T37" fmla="*/ 142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2" h="1438">
                  <a:moveTo>
                    <a:pt x="418" y="1424"/>
                  </a:moveTo>
                  <a:cubicBezTo>
                    <a:pt x="353" y="1424"/>
                    <a:pt x="281" y="1405"/>
                    <a:pt x="225" y="1360"/>
                  </a:cubicBezTo>
                  <a:cubicBezTo>
                    <a:pt x="207" y="1402"/>
                    <a:pt x="207" y="1402"/>
                    <a:pt x="207" y="1402"/>
                  </a:cubicBezTo>
                  <a:cubicBezTo>
                    <a:pt x="87" y="1402"/>
                    <a:pt x="87" y="1402"/>
                    <a:pt x="87" y="1402"/>
                  </a:cubicBezTo>
                  <a:cubicBezTo>
                    <a:pt x="0" y="953"/>
                    <a:pt x="0" y="953"/>
                    <a:pt x="0" y="953"/>
                  </a:cubicBezTo>
                  <a:cubicBezTo>
                    <a:pt x="113" y="889"/>
                    <a:pt x="113" y="889"/>
                    <a:pt x="113" y="889"/>
                  </a:cubicBezTo>
                  <a:cubicBezTo>
                    <a:pt x="217" y="1175"/>
                    <a:pt x="281" y="1261"/>
                    <a:pt x="398" y="1261"/>
                  </a:cubicBezTo>
                  <a:cubicBezTo>
                    <a:pt x="398" y="1261"/>
                    <a:pt x="581" y="1268"/>
                    <a:pt x="581" y="1043"/>
                  </a:cubicBezTo>
                  <a:cubicBezTo>
                    <a:pt x="581" y="706"/>
                    <a:pt x="0" y="924"/>
                    <a:pt x="0" y="400"/>
                  </a:cubicBezTo>
                  <a:cubicBezTo>
                    <a:pt x="0" y="213"/>
                    <a:pt x="76" y="0"/>
                    <a:pt x="311" y="0"/>
                  </a:cubicBezTo>
                  <a:cubicBezTo>
                    <a:pt x="376" y="0"/>
                    <a:pt x="448" y="29"/>
                    <a:pt x="504" y="7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709" y="389"/>
                    <a:pt x="709" y="389"/>
                    <a:pt x="709" y="389"/>
                  </a:cubicBezTo>
                  <a:cubicBezTo>
                    <a:pt x="611" y="446"/>
                    <a:pt x="611" y="446"/>
                    <a:pt x="611" y="446"/>
                  </a:cubicBezTo>
                  <a:cubicBezTo>
                    <a:pt x="526" y="252"/>
                    <a:pt x="463" y="161"/>
                    <a:pt x="346" y="161"/>
                  </a:cubicBezTo>
                  <a:cubicBezTo>
                    <a:pt x="258" y="161"/>
                    <a:pt x="220" y="259"/>
                    <a:pt x="220" y="330"/>
                  </a:cubicBezTo>
                  <a:cubicBezTo>
                    <a:pt x="220" y="673"/>
                    <a:pt x="792" y="405"/>
                    <a:pt x="792" y="965"/>
                  </a:cubicBezTo>
                  <a:cubicBezTo>
                    <a:pt x="792" y="1438"/>
                    <a:pt x="418" y="1424"/>
                    <a:pt x="418" y="14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7"/>
            <p:cNvSpPr>
              <a:spLocks/>
            </p:cNvSpPr>
            <p:nvPr/>
          </p:nvSpPr>
          <p:spPr bwMode="auto">
            <a:xfrm>
              <a:off x="4395830" y="6099671"/>
              <a:ext cx="77066" cy="225652"/>
            </a:xfrm>
            <a:custGeom>
              <a:avLst/>
              <a:gdLst>
                <a:gd name="T0" fmla="*/ 358 w 472"/>
                <a:gd name="T1" fmla="*/ 228 h 1381"/>
                <a:gd name="T2" fmla="*/ 472 w 472"/>
                <a:gd name="T3" fmla="*/ 113 h 1381"/>
                <a:gd name="T4" fmla="*/ 472 w 472"/>
                <a:gd name="T5" fmla="*/ 0 h 1381"/>
                <a:gd name="T6" fmla="*/ 0 w 472"/>
                <a:gd name="T7" fmla="*/ 0 h 1381"/>
                <a:gd name="T8" fmla="*/ 0 w 472"/>
                <a:gd name="T9" fmla="*/ 113 h 1381"/>
                <a:gd name="T10" fmla="*/ 114 w 472"/>
                <a:gd name="T11" fmla="*/ 228 h 1381"/>
                <a:gd name="T12" fmla="*/ 114 w 472"/>
                <a:gd name="T13" fmla="*/ 1154 h 1381"/>
                <a:gd name="T14" fmla="*/ 0 w 472"/>
                <a:gd name="T15" fmla="*/ 1268 h 1381"/>
                <a:gd name="T16" fmla="*/ 0 w 472"/>
                <a:gd name="T17" fmla="*/ 1381 h 1381"/>
                <a:gd name="T18" fmla="*/ 472 w 472"/>
                <a:gd name="T19" fmla="*/ 1381 h 1381"/>
                <a:gd name="T20" fmla="*/ 472 w 472"/>
                <a:gd name="T21" fmla="*/ 1268 h 1381"/>
                <a:gd name="T22" fmla="*/ 358 w 472"/>
                <a:gd name="T23" fmla="*/ 1154 h 1381"/>
                <a:gd name="T24" fmla="*/ 358 w 472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1381">
                  <a:moveTo>
                    <a:pt x="358" y="228"/>
                  </a:moveTo>
                  <a:cubicBezTo>
                    <a:pt x="358" y="165"/>
                    <a:pt x="409" y="113"/>
                    <a:pt x="472" y="11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5"/>
                    <a:pt x="114" y="228"/>
                  </a:cubicBezTo>
                  <a:cubicBezTo>
                    <a:pt x="114" y="1154"/>
                    <a:pt x="114" y="1154"/>
                    <a:pt x="114" y="1154"/>
                  </a:cubicBezTo>
                  <a:cubicBezTo>
                    <a:pt x="114" y="1217"/>
                    <a:pt x="63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2" y="1381"/>
                    <a:pt x="472" y="1381"/>
                    <a:pt x="472" y="1381"/>
                  </a:cubicBezTo>
                  <a:cubicBezTo>
                    <a:pt x="472" y="1268"/>
                    <a:pt x="472" y="1268"/>
                    <a:pt x="472" y="1268"/>
                  </a:cubicBezTo>
                  <a:cubicBezTo>
                    <a:pt x="409" y="1268"/>
                    <a:pt x="358" y="1217"/>
                    <a:pt x="358" y="1154"/>
                  </a:cubicBezTo>
                  <a:lnTo>
                    <a:pt x="358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88"/>
            <p:cNvSpPr>
              <a:spLocks/>
            </p:cNvSpPr>
            <p:nvPr/>
          </p:nvSpPr>
          <p:spPr bwMode="auto">
            <a:xfrm>
              <a:off x="5994305" y="6099671"/>
              <a:ext cx="77066" cy="225652"/>
            </a:xfrm>
            <a:custGeom>
              <a:avLst/>
              <a:gdLst>
                <a:gd name="T0" fmla="*/ 357 w 472"/>
                <a:gd name="T1" fmla="*/ 228 h 1381"/>
                <a:gd name="T2" fmla="*/ 472 w 472"/>
                <a:gd name="T3" fmla="*/ 113 h 1381"/>
                <a:gd name="T4" fmla="*/ 472 w 472"/>
                <a:gd name="T5" fmla="*/ 0 h 1381"/>
                <a:gd name="T6" fmla="*/ 0 w 472"/>
                <a:gd name="T7" fmla="*/ 0 h 1381"/>
                <a:gd name="T8" fmla="*/ 0 w 472"/>
                <a:gd name="T9" fmla="*/ 113 h 1381"/>
                <a:gd name="T10" fmla="*/ 114 w 472"/>
                <a:gd name="T11" fmla="*/ 228 h 1381"/>
                <a:gd name="T12" fmla="*/ 114 w 472"/>
                <a:gd name="T13" fmla="*/ 1154 h 1381"/>
                <a:gd name="T14" fmla="*/ 0 w 472"/>
                <a:gd name="T15" fmla="*/ 1268 h 1381"/>
                <a:gd name="T16" fmla="*/ 0 w 472"/>
                <a:gd name="T17" fmla="*/ 1381 h 1381"/>
                <a:gd name="T18" fmla="*/ 472 w 472"/>
                <a:gd name="T19" fmla="*/ 1381 h 1381"/>
                <a:gd name="T20" fmla="*/ 472 w 472"/>
                <a:gd name="T21" fmla="*/ 1268 h 1381"/>
                <a:gd name="T22" fmla="*/ 357 w 472"/>
                <a:gd name="T23" fmla="*/ 1154 h 1381"/>
                <a:gd name="T24" fmla="*/ 357 w 472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1381">
                  <a:moveTo>
                    <a:pt x="357" y="228"/>
                  </a:moveTo>
                  <a:cubicBezTo>
                    <a:pt x="357" y="165"/>
                    <a:pt x="409" y="113"/>
                    <a:pt x="472" y="11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3" y="113"/>
                    <a:pt x="114" y="165"/>
                    <a:pt x="114" y="228"/>
                  </a:cubicBezTo>
                  <a:cubicBezTo>
                    <a:pt x="114" y="1154"/>
                    <a:pt x="114" y="1154"/>
                    <a:pt x="114" y="1154"/>
                  </a:cubicBezTo>
                  <a:cubicBezTo>
                    <a:pt x="114" y="1217"/>
                    <a:pt x="63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2" y="1381"/>
                    <a:pt x="472" y="1381"/>
                    <a:pt x="472" y="1381"/>
                  </a:cubicBezTo>
                  <a:cubicBezTo>
                    <a:pt x="472" y="1268"/>
                    <a:pt x="472" y="1268"/>
                    <a:pt x="472" y="1268"/>
                  </a:cubicBezTo>
                  <a:cubicBezTo>
                    <a:pt x="409" y="1268"/>
                    <a:pt x="357" y="1217"/>
                    <a:pt x="357" y="1154"/>
                  </a:cubicBezTo>
                  <a:lnTo>
                    <a:pt x="357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89"/>
            <p:cNvSpPr>
              <a:spLocks/>
            </p:cNvSpPr>
            <p:nvPr/>
          </p:nvSpPr>
          <p:spPr bwMode="auto">
            <a:xfrm>
              <a:off x="4748456" y="6099671"/>
              <a:ext cx="77350" cy="225652"/>
            </a:xfrm>
            <a:custGeom>
              <a:avLst/>
              <a:gdLst>
                <a:gd name="T0" fmla="*/ 358 w 473"/>
                <a:gd name="T1" fmla="*/ 228 h 1381"/>
                <a:gd name="T2" fmla="*/ 473 w 473"/>
                <a:gd name="T3" fmla="*/ 113 h 1381"/>
                <a:gd name="T4" fmla="*/ 473 w 473"/>
                <a:gd name="T5" fmla="*/ 0 h 1381"/>
                <a:gd name="T6" fmla="*/ 0 w 473"/>
                <a:gd name="T7" fmla="*/ 0 h 1381"/>
                <a:gd name="T8" fmla="*/ 0 w 473"/>
                <a:gd name="T9" fmla="*/ 113 h 1381"/>
                <a:gd name="T10" fmla="*/ 115 w 473"/>
                <a:gd name="T11" fmla="*/ 228 h 1381"/>
                <a:gd name="T12" fmla="*/ 115 w 473"/>
                <a:gd name="T13" fmla="*/ 1154 h 1381"/>
                <a:gd name="T14" fmla="*/ 0 w 473"/>
                <a:gd name="T15" fmla="*/ 1268 h 1381"/>
                <a:gd name="T16" fmla="*/ 0 w 473"/>
                <a:gd name="T17" fmla="*/ 1381 h 1381"/>
                <a:gd name="T18" fmla="*/ 473 w 473"/>
                <a:gd name="T19" fmla="*/ 1381 h 1381"/>
                <a:gd name="T20" fmla="*/ 473 w 473"/>
                <a:gd name="T21" fmla="*/ 1268 h 1381"/>
                <a:gd name="T22" fmla="*/ 358 w 473"/>
                <a:gd name="T23" fmla="*/ 1154 h 1381"/>
                <a:gd name="T24" fmla="*/ 358 w 473"/>
                <a:gd name="T25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3" h="1381">
                  <a:moveTo>
                    <a:pt x="358" y="228"/>
                  </a:moveTo>
                  <a:cubicBezTo>
                    <a:pt x="358" y="165"/>
                    <a:pt x="410" y="113"/>
                    <a:pt x="473" y="113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64" y="113"/>
                    <a:pt x="115" y="165"/>
                    <a:pt x="115" y="228"/>
                  </a:cubicBezTo>
                  <a:cubicBezTo>
                    <a:pt x="115" y="1154"/>
                    <a:pt x="115" y="1154"/>
                    <a:pt x="115" y="1154"/>
                  </a:cubicBezTo>
                  <a:cubicBezTo>
                    <a:pt x="115" y="1217"/>
                    <a:pt x="64" y="1268"/>
                    <a:pt x="0" y="1268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473" y="1381"/>
                    <a:pt x="473" y="1381"/>
                    <a:pt x="473" y="1381"/>
                  </a:cubicBezTo>
                  <a:cubicBezTo>
                    <a:pt x="473" y="1268"/>
                    <a:pt x="473" y="1268"/>
                    <a:pt x="473" y="1268"/>
                  </a:cubicBezTo>
                  <a:cubicBezTo>
                    <a:pt x="410" y="1268"/>
                    <a:pt x="358" y="1217"/>
                    <a:pt x="358" y="1154"/>
                  </a:cubicBezTo>
                  <a:lnTo>
                    <a:pt x="358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90"/>
            <p:cNvSpPr>
              <a:spLocks/>
            </p:cNvSpPr>
            <p:nvPr/>
          </p:nvSpPr>
          <p:spPr bwMode="auto">
            <a:xfrm>
              <a:off x="2356572" y="6050332"/>
              <a:ext cx="177308" cy="279257"/>
            </a:xfrm>
            <a:custGeom>
              <a:avLst/>
              <a:gdLst>
                <a:gd name="T0" fmla="*/ 919 w 1086"/>
                <a:gd name="T1" fmla="*/ 639 h 1709"/>
                <a:gd name="T2" fmla="*/ 616 w 1086"/>
                <a:gd name="T3" fmla="*/ 193 h 1709"/>
                <a:gd name="T4" fmla="*/ 296 w 1086"/>
                <a:gd name="T5" fmla="*/ 854 h 1709"/>
                <a:gd name="T6" fmla="*/ 616 w 1086"/>
                <a:gd name="T7" fmla="*/ 1515 h 1709"/>
                <a:gd name="T8" fmla="*/ 941 w 1086"/>
                <a:gd name="T9" fmla="*/ 1132 h 1709"/>
                <a:gd name="T10" fmla="*/ 1086 w 1086"/>
                <a:gd name="T11" fmla="*/ 1247 h 1709"/>
                <a:gd name="T12" fmla="*/ 575 w 1086"/>
                <a:gd name="T13" fmla="*/ 1709 h 1709"/>
                <a:gd name="T14" fmla="*/ 0 w 1086"/>
                <a:gd name="T15" fmla="*/ 854 h 1709"/>
                <a:gd name="T16" fmla="*/ 575 w 1086"/>
                <a:gd name="T17" fmla="*/ 0 h 1709"/>
                <a:gd name="T18" fmla="*/ 806 w 1086"/>
                <a:gd name="T19" fmla="*/ 89 h 1709"/>
                <a:gd name="T20" fmla="*/ 828 w 1086"/>
                <a:gd name="T21" fmla="*/ 39 h 1709"/>
                <a:gd name="T22" fmla="*/ 951 w 1086"/>
                <a:gd name="T23" fmla="*/ 39 h 1709"/>
                <a:gd name="T24" fmla="*/ 1050 w 1086"/>
                <a:gd name="T25" fmla="*/ 559 h 1709"/>
                <a:gd name="T26" fmla="*/ 919 w 1086"/>
                <a:gd name="T27" fmla="*/ 63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6" h="1709">
                  <a:moveTo>
                    <a:pt x="919" y="639"/>
                  </a:moveTo>
                  <a:cubicBezTo>
                    <a:pt x="876" y="379"/>
                    <a:pt x="757" y="193"/>
                    <a:pt x="616" y="193"/>
                  </a:cubicBezTo>
                  <a:cubicBezTo>
                    <a:pt x="439" y="193"/>
                    <a:pt x="296" y="489"/>
                    <a:pt x="296" y="854"/>
                  </a:cubicBezTo>
                  <a:cubicBezTo>
                    <a:pt x="296" y="1219"/>
                    <a:pt x="439" y="1515"/>
                    <a:pt x="616" y="1515"/>
                  </a:cubicBezTo>
                  <a:cubicBezTo>
                    <a:pt x="744" y="1515"/>
                    <a:pt x="883" y="1358"/>
                    <a:pt x="941" y="1132"/>
                  </a:cubicBezTo>
                  <a:cubicBezTo>
                    <a:pt x="1086" y="1247"/>
                    <a:pt x="1086" y="1247"/>
                    <a:pt x="1086" y="1247"/>
                  </a:cubicBezTo>
                  <a:cubicBezTo>
                    <a:pt x="990" y="1521"/>
                    <a:pt x="862" y="1709"/>
                    <a:pt x="575" y="1709"/>
                  </a:cubicBezTo>
                  <a:cubicBezTo>
                    <a:pt x="258" y="1709"/>
                    <a:pt x="0" y="1326"/>
                    <a:pt x="0" y="854"/>
                  </a:cubicBezTo>
                  <a:cubicBezTo>
                    <a:pt x="0" y="383"/>
                    <a:pt x="258" y="0"/>
                    <a:pt x="575" y="0"/>
                  </a:cubicBezTo>
                  <a:cubicBezTo>
                    <a:pt x="653" y="0"/>
                    <a:pt x="740" y="35"/>
                    <a:pt x="806" y="89"/>
                  </a:cubicBezTo>
                  <a:cubicBezTo>
                    <a:pt x="828" y="39"/>
                    <a:pt x="828" y="39"/>
                    <a:pt x="828" y="39"/>
                  </a:cubicBezTo>
                  <a:cubicBezTo>
                    <a:pt x="951" y="39"/>
                    <a:pt x="951" y="39"/>
                    <a:pt x="951" y="39"/>
                  </a:cubicBezTo>
                  <a:cubicBezTo>
                    <a:pt x="1050" y="559"/>
                    <a:pt x="1050" y="559"/>
                    <a:pt x="1050" y="559"/>
                  </a:cubicBezTo>
                  <a:lnTo>
                    <a:pt x="919" y="63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91"/>
            <p:cNvSpPr>
              <a:spLocks/>
            </p:cNvSpPr>
            <p:nvPr/>
          </p:nvSpPr>
          <p:spPr bwMode="auto">
            <a:xfrm>
              <a:off x="2974805" y="6099671"/>
              <a:ext cx="162521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7 w 995"/>
                <a:gd name="T7" fmla="*/ 125 h 1381"/>
                <a:gd name="T8" fmla="*/ 607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2 w 995"/>
                <a:gd name="T15" fmla="*/ 329 h 1381"/>
                <a:gd name="T16" fmla="*/ 882 w 995"/>
                <a:gd name="T17" fmla="*/ 1381 h 1381"/>
                <a:gd name="T18" fmla="*/ 669 w 995"/>
                <a:gd name="T19" fmla="*/ 1381 h 1381"/>
                <a:gd name="T20" fmla="*/ 274 w 995"/>
                <a:gd name="T21" fmla="*/ 384 h 1381"/>
                <a:gd name="T22" fmla="*/ 274 w 995"/>
                <a:gd name="T23" fmla="*/ 1065 h 1381"/>
                <a:gd name="T24" fmla="*/ 289 w 995"/>
                <a:gd name="T25" fmla="*/ 1215 h 1381"/>
                <a:gd name="T26" fmla="*/ 387 w 995"/>
                <a:gd name="T27" fmla="*/ 1267 h 1381"/>
                <a:gd name="T28" fmla="*/ 397 w 995"/>
                <a:gd name="T29" fmla="*/ 1267 h 1381"/>
                <a:gd name="T30" fmla="*/ 397 w 995"/>
                <a:gd name="T31" fmla="*/ 1381 h 1381"/>
                <a:gd name="T32" fmla="*/ 9 w 995"/>
                <a:gd name="T33" fmla="*/ 1381 h 1381"/>
                <a:gd name="T34" fmla="*/ 9 w 995"/>
                <a:gd name="T35" fmla="*/ 1267 h 1381"/>
                <a:gd name="T36" fmla="*/ 121 w 995"/>
                <a:gd name="T37" fmla="*/ 1063 h 1381"/>
                <a:gd name="T38" fmla="*/ 121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4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3" y="211"/>
                    <a:pt x="715" y="176"/>
                  </a:cubicBezTo>
                  <a:cubicBezTo>
                    <a:pt x="698" y="141"/>
                    <a:pt x="644" y="129"/>
                    <a:pt x="617" y="125"/>
                  </a:cubicBezTo>
                  <a:cubicBezTo>
                    <a:pt x="607" y="125"/>
                    <a:pt x="607" y="125"/>
                    <a:pt x="607" y="125"/>
                  </a:cubicBezTo>
                  <a:cubicBezTo>
                    <a:pt x="607" y="0"/>
                    <a:pt x="607" y="0"/>
                    <a:pt x="607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5" y="139"/>
                    <a:pt x="882" y="180"/>
                    <a:pt x="882" y="329"/>
                  </a:cubicBezTo>
                  <a:cubicBezTo>
                    <a:pt x="882" y="1381"/>
                    <a:pt x="882" y="1381"/>
                    <a:pt x="882" y="1381"/>
                  </a:cubicBezTo>
                  <a:cubicBezTo>
                    <a:pt x="669" y="1381"/>
                    <a:pt x="669" y="1381"/>
                    <a:pt x="669" y="1381"/>
                  </a:cubicBezTo>
                  <a:cubicBezTo>
                    <a:pt x="274" y="384"/>
                    <a:pt x="274" y="384"/>
                    <a:pt x="274" y="384"/>
                  </a:cubicBezTo>
                  <a:cubicBezTo>
                    <a:pt x="274" y="1065"/>
                    <a:pt x="274" y="1065"/>
                    <a:pt x="274" y="1065"/>
                  </a:cubicBezTo>
                  <a:cubicBezTo>
                    <a:pt x="274" y="1106"/>
                    <a:pt x="271" y="1180"/>
                    <a:pt x="289" y="1215"/>
                  </a:cubicBezTo>
                  <a:cubicBezTo>
                    <a:pt x="306" y="1250"/>
                    <a:pt x="360" y="1263"/>
                    <a:pt x="387" y="1267"/>
                  </a:cubicBezTo>
                  <a:cubicBezTo>
                    <a:pt x="397" y="1267"/>
                    <a:pt x="397" y="1267"/>
                    <a:pt x="397" y="1267"/>
                  </a:cubicBezTo>
                  <a:cubicBezTo>
                    <a:pt x="397" y="1381"/>
                    <a:pt x="397" y="1381"/>
                    <a:pt x="397" y="1381"/>
                  </a:cubicBezTo>
                  <a:cubicBezTo>
                    <a:pt x="9" y="1381"/>
                    <a:pt x="9" y="1381"/>
                    <a:pt x="9" y="1381"/>
                  </a:cubicBezTo>
                  <a:cubicBezTo>
                    <a:pt x="9" y="1267"/>
                    <a:pt x="9" y="1267"/>
                    <a:pt x="9" y="1267"/>
                  </a:cubicBezTo>
                  <a:cubicBezTo>
                    <a:pt x="119" y="1252"/>
                    <a:pt x="121" y="1211"/>
                    <a:pt x="121" y="1063"/>
                  </a:cubicBezTo>
                  <a:cubicBezTo>
                    <a:pt x="121" y="326"/>
                    <a:pt x="121" y="326"/>
                    <a:pt x="121" y="326"/>
                  </a:cubicBezTo>
                  <a:cubicBezTo>
                    <a:pt x="121" y="179"/>
                    <a:pt x="111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92"/>
            <p:cNvSpPr>
              <a:spLocks/>
            </p:cNvSpPr>
            <p:nvPr/>
          </p:nvSpPr>
          <p:spPr bwMode="auto">
            <a:xfrm>
              <a:off x="5518545" y="6099671"/>
              <a:ext cx="162521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7 w 995"/>
                <a:gd name="T7" fmla="*/ 125 h 1381"/>
                <a:gd name="T8" fmla="*/ 607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2 w 995"/>
                <a:gd name="T15" fmla="*/ 329 h 1381"/>
                <a:gd name="T16" fmla="*/ 882 w 995"/>
                <a:gd name="T17" fmla="*/ 1381 h 1381"/>
                <a:gd name="T18" fmla="*/ 669 w 995"/>
                <a:gd name="T19" fmla="*/ 1381 h 1381"/>
                <a:gd name="T20" fmla="*/ 274 w 995"/>
                <a:gd name="T21" fmla="*/ 384 h 1381"/>
                <a:gd name="T22" fmla="*/ 274 w 995"/>
                <a:gd name="T23" fmla="*/ 1065 h 1381"/>
                <a:gd name="T24" fmla="*/ 289 w 995"/>
                <a:gd name="T25" fmla="*/ 1215 h 1381"/>
                <a:gd name="T26" fmla="*/ 387 w 995"/>
                <a:gd name="T27" fmla="*/ 1267 h 1381"/>
                <a:gd name="T28" fmla="*/ 398 w 995"/>
                <a:gd name="T29" fmla="*/ 1267 h 1381"/>
                <a:gd name="T30" fmla="*/ 398 w 995"/>
                <a:gd name="T31" fmla="*/ 1381 h 1381"/>
                <a:gd name="T32" fmla="*/ 9 w 995"/>
                <a:gd name="T33" fmla="*/ 1381 h 1381"/>
                <a:gd name="T34" fmla="*/ 9 w 995"/>
                <a:gd name="T35" fmla="*/ 1267 h 1381"/>
                <a:gd name="T36" fmla="*/ 122 w 995"/>
                <a:gd name="T37" fmla="*/ 1063 h 1381"/>
                <a:gd name="T38" fmla="*/ 122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4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3" y="211"/>
                    <a:pt x="715" y="176"/>
                  </a:cubicBezTo>
                  <a:cubicBezTo>
                    <a:pt x="698" y="141"/>
                    <a:pt x="644" y="129"/>
                    <a:pt x="617" y="125"/>
                  </a:cubicBezTo>
                  <a:cubicBezTo>
                    <a:pt x="607" y="125"/>
                    <a:pt x="607" y="125"/>
                    <a:pt x="607" y="125"/>
                  </a:cubicBezTo>
                  <a:cubicBezTo>
                    <a:pt x="607" y="0"/>
                    <a:pt x="607" y="0"/>
                    <a:pt x="607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6" y="139"/>
                    <a:pt x="882" y="180"/>
                    <a:pt x="882" y="329"/>
                  </a:cubicBezTo>
                  <a:cubicBezTo>
                    <a:pt x="882" y="1381"/>
                    <a:pt x="882" y="1381"/>
                    <a:pt x="882" y="1381"/>
                  </a:cubicBezTo>
                  <a:cubicBezTo>
                    <a:pt x="669" y="1381"/>
                    <a:pt x="669" y="1381"/>
                    <a:pt x="669" y="1381"/>
                  </a:cubicBezTo>
                  <a:cubicBezTo>
                    <a:pt x="274" y="384"/>
                    <a:pt x="274" y="384"/>
                    <a:pt x="274" y="384"/>
                  </a:cubicBezTo>
                  <a:cubicBezTo>
                    <a:pt x="274" y="1065"/>
                    <a:pt x="274" y="1065"/>
                    <a:pt x="274" y="1065"/>
                  </a:cubicBezTo>
                  <a:cubicBezTo>
                    <a:pt x="274" y="1106"/>
                    <a:pt x="272" y="1180"/>
                    <a:pt x="289" y="1215"/>
                  </a:cubicBezTo>
                  <a:cubicBezTo>
                    <a:pt x="306" y="1250"/>
                    <a:pt x="360" y="1263"/>
                    <a:pt x="387" y="1267"/>
                  </a:cubicBezTo>
                  <a:cubicBezTo>
                    <a:pt x="398" y="1267"/>
                    <a:pt x="398" y="1267"/>
                    <a:pt x="398" y="1267"/>
                  </a:cubicBezTo>
                  <a:cubicBezTo>
                    <a:pt x="398" y="1381"/>
                    <a:pt x="398" y="1381"/>
                    <a:pt x="398" y="1381"/>
                  </a:cubicBezTo>
                  <a:cubicBezTo>
                    <a:pt x="9" y="1381"/>
                    <a:pt x="9" y="1381"/>
                    <a:pt x="9" y="1381"/>
                  </a:cubicBezTo>
                  <a:cubicBezTo>
                    <a:pt x="9" y="1267"/>
                    <a:pt x="9" y="1267"/>
                    <a:pt x="9" y="1267"/>
                  </a:cubicBezTo>
                  <a:cubicBezTo>
                    <a:pt x="119" y="1252"/>
                    <a:pt x="122" y="1211"/>
                    <a:pt x="122" y="1063"/>
                  </a:cubicBezTo>
                  <a:cubicBezTo>
                    <a:pt x="122" y="326"/>
                    <a:pt x="122" y="326"/>
                    <a:pt x="122" y="326"/>
                  </a:cubicBezTo>
                  <a:cubicBezTo>
                    <a:pt x="122" y="179"/>
                    <a:pt x="112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93"/>
            <p:cNvSpPr>
              <a:spLocks/>
            </p:cNvSpPr>
            <p:nvPr/>
          </p:nvSpPr>
          <p:spPr bwMode="auto">
            <a:xfrm>
              <a:off x="4848982" y="6099671"/>
              <a:ext cx="162378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6 w 995"/>
                <a:gd name="T7" fmla="*/ 125 h 1381"/>
                <a:gd name="T8" fmla="*/ 606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1 w 995"/>
                <a:gd name="T15" fmla="*/ 329 h 1381"/>
                <a:gd name="T16" fmla="*/ 881 w 995"/>
                <a:gd name="T17" fmla="*/ 1381 h 1381"/>
                <a:gd name="T18" fmla="*/ 668 w 995"/>
                <a:gd name="T19" fmla="*/ 1381 h 1381"/>
                <a:gd name="T20" fmla="*/ 273 w 995"/>
                <a:gd name="T21" fmla="*/ 384 h 1381"/>
                <a:gd name="T22" fmla="*/ 273 w 995"/>
                <a:gd name="T23" fmla="*/ 1065 h 1381"/>
                <a:gd name="T24" fmla="*/ 288 w 995"/>
                <a:gd name="T25" fmla="*/ 1215 h 1381"/>
                <a:gd name="T26" fmla="*/ 386 w 995"/>
                <a:gd name="T27" fmla="*/ 1267 h 1381"/>
                <a:gd name="T28" fmla="*/ 397 w 995"/>
                <a:gd name="T29" fmla="*/ 1267 h 1381"/>
                <a:gd name="T30" fmla="*/ 397 w 995"/>
                <a:gd name="T31" fmla="*/ 1381 h 1381"/>
                <a:gd name="T32" fmla="*/ 8 w 995"/>
                <a:gd name="T33" fmla="*/ 1381 h 1381"/>
                <a:gd name="T34" fmla="*/ 8 w 995"/>
                <a:gd name="T35" fmla="*/ 1267 h 1381"/>
                <a:gd name="T36" fmla="*/ 121 w 995"/>
                <a:gd name="T37" fmla="*/ 1063 h 1381"/>
                <a:gd name="T38" fmla="*/ 121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3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2" y="211"/>
                    <a:pt x="715" y="176"/>
                  </a:cubicBezTo>
                  <a:cubicBezTo>
                    <a:pt x="697" y="141"/>
                    <a:pt x="643" y="129"/>
                    <a:pt x="617" y="125"/>
                  </a:cubicBezTo>
                  <a:cubicBezTo>
                    <a:pt x="606" y="125"/>
                    <a:pt x="606" y="125"/>
                    <a:pt x="606" y="125"/>
                  </a:cubicBezTo>
                  <a:cubicBezTo>
                    <a:pt x="606" y="0"/>
                    <a:pt x="606" y="0"/>
                    <a:pt x="606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5" y="139"/>
                    <a:pt x="881" y="180"/>
                    <a:pt x="881" y="329"/>
                  </a:cubicBezTo>
                  <a:cubicBezTo>
                    <a:pt x="881" y="1381"/>
                    <a:pt x="881" y="1381"/>
                    <a:pt x="881" y="1381"/>
                  </a:cubicBezTo>
                  <a:cubicBezTo>
                    <a:pt x="668" y="1381"/>
                    <a:pt x="668" y="1381"/>
                    <a:pt x="668" y="1381"/>
                  </a:cubicBezTo>
                  <a:cubicBezTo>
                    <a:pt x="273" y="384"/>
                    <a:pt x="273" y="384"/>
                    <a:pt x="273" y="384"/>
                  </a:cubicBezTo>
                  <a:cubicBezTo>
                    <a:pt x="273" y="1065"/>
                    <a:pt x="273" y="1065"/>
                    <a:pt x="273" y="1065"/>
                  </a:cubicBezTo>
                  <a:cubicBezTo>
                    <a:pt x="273" y="1106"/>
                    <a:pt x="271" y="1180"/>
                    <a:pt x="288" y="1215"/>
                  </a:cubicBezTo>
                  <a:cubicBezTo>
                    <a:pt x="306" y="1250"/>
                    <a:pt x="359" y="1263"/>
                    <a:pt x="386" y="1267"/>
                  </a:cubicBezTo>
                  <a:cubicBezTo>
                    <a:pt x="397" y="1267"/>
                    <a:pt x="397" y="1267"/>
                    <a:pt x="397" y="1267"/>
                  </a:cubicBezTo>
                  <a:cubicBezTo>
                    <a:pt x="397" y="1381"/>
                    <a:pt x="397" y="1381"/>
                    <a:pt x="397" y="1381"/>
                  </a:cubicBezTo>
                  <a:cubicBezTo>
                    <a:pt x="8" y="1381"/>
                    <a:pt x="8" y="1381"/>
                    <a:pt x="8" y="1381"/>
                  </a:cubicBezTo>
                  <a:cubicBezTo>
                    <a:pt x="8" y="1267"/>
                    <a:pt x="8" y="1267"/>
                    <a:pt x="8" y="1267"/>
                  </a:cubicBezTo>
                  <a:cubicBezTo>
                    <a:pt x="118" y="1252"/>
                    <a:pt x="121" y="1211"/>
                    <a:pt x="121" y="1063"/>
                  </a:cubicBezTo>
                  <a:cubicBezTo>
                    <a:pt x="121" y="326"/>
                    <a:pt x="121" y="326"/>
                    <a:pt x="121" y="326"/>
                  </a:cubicBezTo>
                  <a:cubicBezTo>
                    <a:pt x="121" y="179"/>
                    <a:pt x="111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3" y="0"/>
                    <a:pt x="423" y="0"/>
                    <a:pt x="423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4"/>
            <p:cNvSpPr>
              <a:spLocks/>
            </p:cNvSpPr>
            <p:nvPr/>
          </p:nvSpPr>
          <p:spPr bwMode="auto">
            <a:xfrm>
              <a:off x="6259770" y="6099671"/>
              <a:ext cx="162521" cy="225652"/>
            </a:xfrm>
            <a:custGeom>
              <a:avLst/>
              <a:gdLst>
                <a:gd name="T0" fmla="*/ 729 w 995"/>
                <a:gd name="T1" fmla="*/ 327 h 1381"/>
                <a:gd name="T2" fmla="*/ 715 w 995"/>
                <a:gd name="T3" fmla="*/ 176 h 1381"/>
                <a:gd name="T4" fmla="*/ 617 w 995"/>
                <a:gd name="T5" fmla="*/ 125 h 1381"/>
                <a:gd name="T6" fmla="*/ 607 w 995"/>
                <a:gd name="T7" fmla="*/ 125 h 1381"/>
                <a:gd name="T8" fmla="*/ 607 w 995"/>
                <a:gd name="T9" fmla="*/ 0 h 1381"/>
                <a:gd name="T10" fmla="*/ 995 w 995"/>
                <a:gd name="T11" fmla="*/ 0 h 1381"/>
                <a:gd name="T12" fmla="*/ 995 w 995"/>
                <a:gd name="T13" fmla="*/ 125 h 1381"/>
                <a:gd name="T14" fmla="*/ 882 w 995"/>
                <a:gd name="T15" fmla="*/ 329 h 1381"/>
                <a:gd name="T16" fmla="*/ 882 w 995"/>
                <a:gd name="T17" fmla="*/ 1381 h 1381"/>
                <a:gd name="T18" fmla="*/ 669 w 995"/>
                <a:gd name="T19" fmla="*/ 1381 h 1381"/>
                <a:gd name="T20" fmla="*/ 274 w 995"/>
                <a:gd name="T21" fmla="*/ 384 h 1381"/>
                <a:gd name="T22" fmla="*/ 274 w 995"/>
                <a:gd name="T23" fmla="*/ 1065 h 1381"/>
                <a:gd name="T24" fmla="*/ 289 w 995"/>
                <a:gd name="T25" fmla="*/ 1215 h 1381"/>
                <a:gd name="T26" fmla="*/ 387 w 995"/>
                <a:gd name="T27" fmla="*/ 1267 h 1381"/>
                <a:gd name="T28" fmla="*/ 398 w 995"/>
                <a:gd name="T29" fmla="*/ 1267 h 1381"/>
                <a:gd name="T30" fmla="*/ 398 w 995"/>
                <a:gd name="T31" fmla="*/ 1381 h 1381"/>
                <a:gd name="T32" fmla="*/ 9 w 995"/>
                <a:gd name="T33" fmla="*/ 1381 h 1381"/>
                <a:gd name="T34" fmla="*/ 9 w 995"/>
                <a:gd name="T35" fmla="*/ 1267 h 1381"/>
                <a:gd name="T36" fmla="*/ 121 w 995"/>
                <a:gd name="T37" fmla="*/ 1063 h 1381"/>
                <a:gd name="T38" fmla="*/ 121 w 995"/>
                <a:gd name="T39" fmla="*/ 326 h 1381"/>
                <a:gd name="T40" fmla="*/ 0 w 995"/>
                <a:gd name="T41" fmla="*/ 124 h 1381"/>
                <a:gd name="T42" fmla="*/ 0 w 995"/>
                <a:gd name="T43" fmla="*/ 0 h 1381"/>
                <a:gd name="T44" fmla="*/ 424 w 995"/>
                <a:gd name="T45" fmla="*/ 0 h 1381"/>
                <a:gd name="T46" fmla="*/ 729 w 995"/>
                <a:gd name="T47" fmla="*/ 781 h 1381"/>
                <a:gd name="T48" fmla="*/ 729 w 995"/>
                <a:gd name="T49" fmla="*/ 327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5" h="1381">
                  <a:moveTo>
                    <a:pt x="729" y="327"/>
                  </a:moveTo>
                  <a:cubicBezTo>
                    <a:pt x="729" y="285"/>
                    <a:pt x="733" y="211"/>
                    <a:pt x="715" y="176"/>
                  </a:cubicBezTo>
                  <a:cubicBezTo>
                    <a:pt x="698" y="141"/>
                    <a:pt x="644" y="129"/>
                    <a:pt x="617" y="125"/>
                  </a:cubicBezTo>
                  <a:cubicBezTo>
                    <a:pt x="607" y="125"/>
                    <a:pt x="607" y="125"/>
                    <a:pt x="607" y="125"/>
                  </a:cubicBezTo>
                  <a:cubicBezTo>
                    <a:pt x="607" y="0"/>
                    <a:pt x="607" y="0"/>
                    <a:pt x="607" y="0"/>
                  </a:cubicBezTo>
                  <a:cubicBezTo>
                    <a:pt x="995" y="0"/>
                    <a:pt x="995" y="0"/>
                    <a:pt x="995" y="0"/>
                  </a:cubicBezTo>
                  <a:cubicBezTo>
                    <a:pt x="995" y="125"/>
                    <a:pt x="995" y="125"/>
                    <a:pt x="995" y="125"/>
                  </a:cubicBezTo>
                  <a:cubicBezTo>
                    <a:pt x="886" y="139"/>
                    <a:pt x="882" y="180"/>
                    <a:pt x="882" y="329"/>
                  </a:cubicBezTo>
                  <a:cubicBezTo>
                    <a:pt x="882" y="1381"/>
                    <a:pt x="882" y="1381"/>
                    <a:pt x="882" y="1381"/>
                  </a:cubicBezTo>
                  <a:cubicBezTo>
                    <a:pt x="669" y="1381"/>
                    <a:pt x="669" y="1381"/>
                    <a:pt x="669" y="1381"/>
                  </a:cubicBezTo>
                  <a:cubicBezTo>
                    <a:pt x="274" y="384"/>
                    <a:pt x="274" y="384"/>
                    <a:pt x="274" y="384"/>
                  </a:cubicBezTo>
                  <a:cubicBezTo>
                    <a:pt x="274" y="1065"/>
                    <a:pt x="274" y="1065"/>
                    <a:pt x="274" y="1065"/>
                  </a:cubicBezTo>
                  <a:cubicBezTo>
                    <a:pt x="274" y="1106"/>
                    <a:pt x="271" y="1180"/>
                    <a:pt x="289" y="1215"/>
                  </a:cubicBezTo>
                  <a:cubicBezTo>
                    <a:pt x="306" y="1250"/>
                    <a:pt x="360" y="1263"/>
                    <a:pt x="387" y="1267"/>
                  </a:cubicBezTo>
                  <a:cubicBezTo>
                    <a:pt x="398" y="1267"/>
                    <a:pt x="398" y="1267"/>
                    <a:pt x="398" y="1267"/>
                  </a:cubicBezTo>
                  <a:cubicBezTo>
                    <a:pt x="398" y="1381"/>
                    <a:pt x="398" y="1381"/>
                    <a:pt x="398" y="1381"/>
                  </a:cubicBezTo>
                  <a:cubicBezTo>
                    <a:pt x="9" y="1381"/>
                    <a:pt x="9" y="1381"/>
                    <a:pt x="9" y="1381"/>
                  </a:cubicBezTo>
                  <a:cubicBezTo>
                    <a:pt x="9" y="1267"/>
                    <a:pt x="9" y="1267"/>
                    <a:pt x="9" y="1267"/>
                  </a:cubicBezTo>
                  <a:cubicBezTo>
                    <a:pt x="119" y="1252"/>
                    <a:pt x="121" y="1211"/>
                    <a:pt x="121" y="1063"/>
                  </a:cubicBezTo>
                  <a:cubicBezTo>
                    <a:pt x="121" y="326"/>
                    <a:pt x="121" y="326"/>
                    <a:pt x="121" y="326"/>
                  </a:cubicBezTo>
                  <a:cubicBezTo>
                    <a:pt x="121" y="179"/>
                    <a:pt x="112" y="138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729" y="781"/>
                    <a:pt x="729" y="781"/>
                    <a:pt x="729" y="781"/>
                  </a:cubicBezTo>
                  <a:lnTo>
                    <a:pt x="729" y="32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95"/>
            <p:cNvSpPr>
              <a:spLocks noChangeArrowheads="1"/>
            </p:cNvSpPr>
            <p:nvPr/>
          </p:nvSpPr>
          <p:spPr bwMode="auto">
            <a:xfrm>
              <a:off x="2348752" y="6346224"/>
              <a:ext cx="4446497" cy="18769"/>
            </a:xfrm>
            <a:prstGeom prst="rect">
              <a:avLst/>
            </a:prstGeom>
            <a:solidFill>
              <a:srgbClr val="D70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96"/>
            <p:cNvSpPr>
              <a:spLocks/>
            </p:cNvSpPr>
            <p:nvPr/>
          </p:nvSpPr>
          <p:spPr bwMode="auto">
            <a:xfrm>
              <a:off x="5181702" y="6101235"/>
              <a:ext cx="149724" cy="225225"/>
            </a:xfrm>
            <a:custGeom>
              <a:avLst/>
              <a:gdLst>
                <a:gd name="T0" fmla="*/ 357 w 917"/>
                <a:gd name="T1" fmla="*/ 706 h 1378"/>
                <a:gd name="T2" fmla="*/ 357 w 917"/>
                <a:gd name="T3" fmla="*/ 1139 h 1378"/>
                <a:gd name="T4" fmla="*/ 474 w 917"/>
                <a:gd name="T5" fmla="*/ 1232 h 1378"/>
                <a:gd name="T6" fmla="*/ 483 w 917"/>
                <a:gd name="T7" fmla="*/ 1232 h 1378"/>
                <a:gd name="T8" fmla="*/ 813 w 917"/>
                <a:gd name="T9" fmla="*/ 851 h 1378"/>
                <a:gd name="T10" fmla="*/ 917 w 917"/>
                <a:gd name="T11" fmla="*/ 911 h 1378"/>
                <a:gd name="T12" fmla="*/ 798 w 917"/>
                <a:gd name="T13" fmla="*/ 1378 h 1378"/>
                <a:gd name="T14" fmla="*/ 0 w 917"/>
                <a:gd name="T15" fmla="*/ 1378 h 1378"/>
                <a:gd name="T16" fmla="*/ 0 w 917"/>
                <a:gd name="T17" fmla="*/ 1265 h 1378"/>
                <a:gd name="T18" fmla="*/ 114 w 917"/>
                <a:gd name="T19" fmla="*/ 1150 h 1378"/>
                <a:gd name="T20" fmla="*/ 114 w 917"/>
                <a:gd name="T21" fmla="*/ 227 h 1378"/>
                <a:gd name="T22" fmla="*/ 0 w 917"/>
                <a:gd name="T23" fmla="*/ 113 h 1378"/>
                <a:gd name="T24" fmla="*/ 0 w 917"/>
                <a:gd name="T25" fmla="*/ 0 h 1378"/>
                <a:gd name="T26" fmla="*/ 765 w 917"/>
                <a:gd name="T27" fmla="*/ 0 h 1378"/>
                <a:gd name="T28" fmla="*/ 886 w 917"/>
                <a:gd name="T29" fmla="*/ 387 h 1378"/>
                <a:gd name="T30" fmla="*/ 782 w 917"/>
                <a:gd name="T31" fmla="*/ 450 h 1378"/>
                <a:gd name="T32" fmla="*/ 474 w 917"/>
                <a:gd name="T33" fmla="*/ 145 h 1378"/>
                <a:gd name="T34" fmla="*/ 357 w 917"/>
                <a:gd name="T35" fmla="*/ 239 h 1378"/>
                <a:gd name="T36" fmla="*/ 357 w 917"/>
                <a:gd name="T37" fmla="*/ 548 h 1378"/>
                <a:gd name="T38" fmla="*/ 381 w 917"/>
                <a:gd name="T39" fmla="*/ 548 h 1378"/>
                <a:gd name="T40" fmla="*/ 471 w 917"/>
                <a:gd name="T41" fmla="*/ 508 h 1378"/>
                <a:gd name="T42" fmla="*/ 495 w 917"/>
                <a:gd name="T43" fmla="*/ 315 h 1378"/>
                <a:gd name="T44" fmla="*/ 641 w 917"/>
                <a:gd name="T45" fmla="*/ 315 h 1378"/>
                <a:gd name="T46" fmla="*/ 641 w 917"/>
                <a:gd name="T47" fmla="*/ 959 h 1378"/>
                <a:gd name="T48" fmla="*/ 495 w 917"/>
                <a:gd name="T49" fmla="*/ 959 h 1378"/>
                <a:gd name="T50" fmla="*/ 472 w 917"/>
                <a:gd name="T51" fmla="*/ 774 h 1378"/>
                <a:gd name="T52" fmla="*/ 365 w 917"/>
                <a:gd name="T53" fmla="*/ 706 h 1378"/>
                <a:gd name="T54" fmla="*/ 357 w 917"/>
                <a:gd name="T55" fmla="*/ 706 h 1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17" h="1378">
                  <a:moveTo>
                    <a:pt x="357" y="706"/>
                  </a:moveTo>
                  <a:cubicBezTo>
                    <a:pt x="357" y="1139"/>
                    <a:pt x="357" y="1139"/>
                    <a:pt x="357" y="1139"/>
                  </a:cubicBezTo>
                  <a:cubicBezTo>
                    <a:pt x="357" y="1202"/>
                    <a:pt x="411" y="1232"/>
                    <a:pt x="474" y="1232"/>
                  </a:cubicBezTo>
                  <a:cubicBezTo>
                    <a:pt x="483" y="1232"/>
                    <a:pt x="483" y="1232"/>
                    <a:pt x="483" y="1232"/>
                  </a:cubicBezTo>
                  <a:cubicBezTo>
                    <a:pt x="654" y="1232"/>
                    <a:pt x="719" y="1078"/>
                    <a:pt x="813" y="851"/>
                  </a:cubicBezTo>
                  <a:cubicBezTo>
                    <a:pt x="917" y="911"/>
                    <a:pt x="917" y="911"/>
                    <a:pt x="917" y="911"/>
                  </a:cubicBezTo>
                  <a:cubicBezTo>
                    <a:pt x="798" y="1378"/>
                    <a:pt x="798" y="1378"/>
                    <a:pt x="798" y="1378"/>
                  </a:cubicBezTo>
                  <a:cubicBezTo>
                    <a:pt x="0" y="1378"/>
                    <a:pt x="0" y="1378"/>
                    <a:pt x="0" y="1378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63" y="1265"/>
                    <a:pt x="114" y="1214"/>
                    <a:pt x="114" y="1150"/>
                  </a:cubicBezTo>
                  <a:cubicBezTo>
                    <a:pt x="114" y="227"/>
                    <a:pt x="114" y="227"/>
                    <a:pt x="114" y="227"/>
                  </a:cubicBezTo>
                  <a:cubicBezTo>
                    <a:pt x="114" y="164"/>
                    <a:pt x="63" y="113"/>
                    <a:pt x="0" y="1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65" y="0"/>
                    <a:pt x="765" y="0"/>
                    <a:pt x="765" y="0"/>
                  </a:cubicBezTo>
                  <a:cubicBezTo>
                    <a:pt x="886" y="387"/>
                    <a:pt x="886" y="387"/>
                    <a:pt x="886" y="387"/>
                  </a:cubicBezTo>
                  <a:cubicBezTo>
                    <a:pt x="782" y="450"/>
                    <a:pt x="782" y="450"/>
                    <a:pt x="782" y="450"/>
                  </a:cubicBezTo>
                  <a:cubicBezTo>
                    <a:pt x="709" y="269"/>
                    <a:pt x="610" y="145"/>
                    <a:pt x="474" y="145"/>
                  </a:cubicBezTo>
                  <a:cubicBezTo>
                    <a:pt x="411" y="145"/>
                    <a:pt x="357" y="176"/>
                    <a:pt x="357" y="239"/>
                  </a:cubicBezTo>
                  <a:cubicBezTo>
                    <a:pt x="357" y="548"/>
                    <a:pt x="357" y="548"/>
                    <a:pt x="357" y="548"/>
                  </a:cubicBezTo>
                  <a:cubicBezTo>
                    <a:pt x="381" y="548"/>
                    <a:pt x="381" y="548"/>
                    <a:pt x="381" y="548"/>
                  </a:cubicBezTo>
                  <a:cubicBezTo>
                    <a:pt x="414" y="548"/>
                    <a:pt x="447" y="556"/>
                    <a:pt x="471" y="508"/>
                  </a:cubicBezTo>
                  <a:cubicBezTo>
                    <a:pt x="490" y="467"/>
                    <a:pt x="495" y="365"/>
                    <a:pt x="495" y="315"/>
                  </a:cubicBezTo>
                  <a:cubicBezTo>
                    <a:pt x="641" y="315"/>
                    <a:pt x="641" y="315"/>
                    <a:pt x="641" y="315"/>
                  </a:cubicBezTo>
                  <a:cubicBezTo>
                    <a:pt x="641" y="959"/>
                    <a:pt x="641" y="959"/>
                    <a:pt x="641" y="959"/>
                  </a:cubicBezTo>
                  <a:cubicBezTo>
                    <a:pt x="495" y="959"/>
                    <a:pt x="495" y="959"/>
                    <a:pt x="495" y="959"/>
                  </a:cubicBezTo>
                  <a:cubicBezTo>
                    <a:pt x="490" y="905"/>
                    <a:pt x="494" y="820"/>
                    <a:pt x="472" y="774"/>
                  </a:cubicBezTo>
                  <a:cubicBezTo>
                    <a:pt x="447" y="722"/>
                    <a:pt x="400" y="706"/>
                    <a:pt x="365" y="706"/>
                  </a:cubicBezTo>
                  <a:lnTo>
                    <a:pt x="357" y="70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7"/>
            <p:cNvSpPr>
              <a:spLocks/>
            </p:cNvSpPr>
            <p:nvPr/>
          </p:nvSpPr>
          <p:spPr bwMode="auto">
            <a:xfrm>
              <a:off x="6613960" y="6098818"/>
              <a:ext cx="147022" cy="225652"/>
            </a:xfrm>
            <a:custGeom>
              <a:avLst/>
              <a:gdLst>
                <a:gd name="T0" fmla="*/ 362 w 900"/>
                <a:gd name="T1" fmla="*/ 228 h 1381"/>
                <a:gd name="T2" fmla="*/ 478 w 900"/>
                <a:gd name="T3" fmla="*/ 112 h 1381"/>
                <a:gd name="T4" fmla="*/ 478 w 900"/>
                <a:gd name="T5" fmla="*/ 0 h 1381"/>
                <a:gd name="T6" fmla="*/ 0 w 900"/>
                <a:gd name="T7" fmla="*/ 0 h 1381"/>
                <a:gd name="T8" fmla="*/ 0 w 900"/>
                <a:gd name="T9" fmla="*/ 112 h 1381"/>
                <a:gd name="T10" fmla="*/ 116 w 900"/>
                <a:gd name="T11" fmla="*/ 228 h 1381"/>
                <a:gd name="T12" fmla="*/ 116 w 900"/>
                <a:gd name="T13" fmla="*/ 1150 h 1381"/>
                <a:gd name="T14" fmla="*/ 0 w 900"/>
                <a:gd name="T15" fmla="*/ 1266 h 1381"/>
                <a:gd name="T16" fmla="*/ 0 w 900"/>
                <a:gd name="T17" fmla="*/ 1381 h 1381"/>
                <a:gd name="T18" fmla="*/ 776 w 900"/>
                <a:gd name="T19" fmla="*/ 1381 h 1381"/>
                <a:gd name="T20" fmla="*/ 900 w 900"/>
                <a:gd name="T21" fmla="*/ 989 h 1381"/>
                <a:gd name="T22" fmla="*/ 794 w 900"/>
                <a:gd name="T23" fmla="*/ 925 h 1381"/>
                <a:gd name="T24" fmla="*/ 481 w 900"/>
                <a:gd name="T25" fmla="*/ 1234 h 1381"/>
                <a:gd name="T26" fmla="*/ 362 w 900"/>
                <a:gd name="T27" fmla="*/ 1139 h 1381"/>
                <a:gd name="T28" fmla="*/ 362 w 900"/>
                <a:gd name="T29" fmla="*/ 228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0" h="1381">
                  <a:moveTo>
                    <a:pt x="362" y="228"/>
                  </a:moveTo>
                  <a:cubicBezTo>
                    <a:pt x="362" y="164"/>
                    <a:pt x="414" y="112"/>
                    <a:pt x="478" y="112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64" y="112"/>
                    <a:pt x="116" y="164"/>
                    <a:pt x="116" y="228"/>
                  </a:cubicBezTo>
                  <a:cubicBezTo>
                    <a:pt x="116" y="1150"/>
                    <a:pt x="116" y="1150"/>
                    <a:pt x="116" y="1150"/>
                  </a:cubicBezTo>
                  <a:cubicBezTo>
                    <a:pt x="116" y="1214"/>
                    <a:pt x="64" y="1266"/>
                    <a:pt x="0" y="1266"/>
                  </a:cubicBezTo>
                  <a:cubicBezTo>
                    <a:pt x="0" y="1381"/>
                    <a:pt x="0" y="1381"/>
                    <a:pt x="0" y="1381"/>
                  </a:cubicBezTo>
                  <a:cubicBezTo>
                    <a:pt x="776" y="1381"/>
                    <a:pt x="776" y="1381"/>
                    <a:pt x="776" y="1381"/>
                  </a:cubicBezTo>
                  <a:cubicBezTo>
                    <a:pt x="900" y="989"/>
                    <a:pt x="900" y="989"/>
                    <a:pt x="900" y="989"/>
                  </a:cubicBezTo>
                  <a:cubicBezTo>
                    <a:pt x="794" y="925"/>
                    <a:pt x="794" y="925"/>
                    <a:pt x="794" y="925"/>
                  </a:cubicBezTo>
                  <a:cubicBezTo>
                    <a:pt x="720" y="1108"/>
                    <a:pt x="619" y="1234"/>
                    <a:pt x="481" y="1234"/>
                  </a:cubicBezTo>
                  <a:cubicBezTo>
                    <a:pt x="417" y="1234"/>
                    <a:pt x="362" y="1203"/>
                    <a:pt x="362" y="1139"/>
                  </a:cubicBezTo>
                  <a:lnTo>
                    <a:pt x="362" y="2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20771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Casinos Austria Intl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4652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3634C82-9AA3-48EB-A009-1256EDEA71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50D224E5-8FD7-4F0F-A857-AB5FCDB587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D7D7FEF-2B1F-4183-AE77-47D9E8BB2D1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D3F997E-FA91-411E-B70E-0F095B19B09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FE3934B7-F85F-4142-972C-922F1BB41D3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60D3DE8-4219-4D1E-9118-FC98C1B6CDD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3544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in2day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37566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0" name="Picture 12" descr="I:\kunden\Casinos Austria\Input für Baseform\Logos\w2d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136" y="5811657"/>
            <a:ext cx="1283729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49746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win2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06787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60BB4A9-F4F8-485E-94D3-14244F5500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F3C4DEE4-17AC-4BCF-83A7-849D02CBEC5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2A87DB4-F187-4754-8788-A332238292C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B9C230F3-03CD-4D03-8607-1AAEB745704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B76818A-A95C-4348-A9FF-4DD4A300FE9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7596A19-8BFA-4DE2-A16F-A74958A5F5A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5838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inwin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02074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3169" y="5811657"/>
            <a:ext cx="1225663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5552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win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06455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F97BFBE3-6F05-4AFF-BD68-07D46AA6FC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3B88375-1574-48D6-A1D2-06956FA1F5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84F0A85-0245-4CF7-A073-F14F897A8FF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153C7F6-2ABD-4D01-B288-EB584DF54B4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A016769-7C0B-48BD-A474-96BF104BE65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226C40D2-D505-456D-A2EA-244C3BD8D60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727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pp3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03274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1" name="Picture 3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3643" y="5829657"/>
            <a:ext cx="114789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94327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_tipp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32451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797B7AF0-47EA-4FE3-B7A1-5DCAD9671C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EA463AD-88E4-4982-9B66-07775F0FDB0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917F7FB-73F9-48D1-BF2D-70B79DCA325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3F6DA0B-D109-4B07-AB3E-532740B4487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EE0C5248-3EA8-476C-ACC4-9AD2D2F9866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02C222D5-B7EB-49BD-891D-F0C6D59DB1D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717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2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47249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9603" y="3593207"/>
            <a:ext cx="8935969" cy="923330"/>
          </a:xfrm>
        </p:spPr>
        <p:txBody>
          <a:bodyPr anchor="ctr"/>
          <a:lstStyle>
            <a:lvl1pPr algn="ctr">
              <a:defRPr sz="3000" b="0" cap="none" baseline="0">
                <a:solidFill>
                  <a:schemeClr val="accent5"/>
                </a:solidFill>
              </a:defRPr>
            </a:lvl1pPr>
          </a:lstStyle>
          <a:p>
            <a:r>
              <a:rPr lang="de-AT" dirty="0"/>
              <a:t>Zwischenseite 2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cxnSp>
        <p:nvCxnSpPr>
          <p:cNvPr id="8" name="Gerade Verbindung 18">
            <a:extLst>
              <a:ext uri="{FF2B5EF4-FFF2-40B4-BE49-F238E27FC236}">
                <a16:creationId xmlns:a16="http://schemas.microsoft.com/office/drawing/2014/main" id="{CB524A15-880A-49A5-8F56-49C7A0E2207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410258" y="3306573"/>
            <a:ext cx="11374659" cy="0"/>
          </a:xfrm>
          <a:prstGeom prst="line">
            <a:avLst/>
          </a:prstGeom>
          <a:noFill/>
          <a:ln w="19050" cap="rnd">
            <a:gradFill flip="none" rotWithShape="1">
              <a:gsLst>
                <a:gs pos="5000">
                  <a:schemeClr val="bg2">
                    <a:alpha val="0"/>
                  </a:schemeClr>
                </a:gs>
                <a:gs pos="50000">
                  <a:schemeClr val="bg2"/>
                </a:gs>
                <a:gs pos="95000">
                  <a:schemeClr val="bg2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 Verbindung 18">
            <a:extLst>
              <a:ext uri="{FF2B5EF4-FFF2-40B4-BE49-F238E27FC236}">
                <a16:creationId xmlns:a16="http://schemas.microsoft.com/office/drawing/2014/main" id="{14C588F4-2336-4CC8-899A-FE4E86B6EBD8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2085829" y="4859601"/>
            <a:ext cx="8023517" cy="0"/>
          </a:xfrm>
          <a:prstGeom prst="line">
            <a:avLst/>
          </a:prstGeom>
          <a:noFill/>
          <a:ln w="19050" cap="rnd">
            <a:gradFill flip="none" rotWithShape="1">
              <a:gsLst>
                <a:gs pos="5000">
                  <a:schemeClr val="bg2">
                    <a:alpha val="0"/>
                  </a:schemeClr>
                </a:gs>
                <a:gs pos="50000">
                  <a:schemeClr val="bg2"/>
                </a:gs>
                <a:gs pos="95000">
                  <a:schemeClr val="bg2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Freeform 92">
            <a:extLst>
              <a:ext uri="{FF2B5EF4-FFF2-40B4-BE49-F238E27FC236}">
                <a16:creationId xmlns:a16="http://schemas.microsoft.com/office/drawing/2014/main" id="{726B6BE3-D2DD-4BD8-AC7D-DEDC65766433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5531896" y="1107091"/>
            <a:ext cx="1131383" cy="1887196"/>
          </a:xfrm>
          <a:custGeom>
            <a:avLst/>
            <a:gdLst>
              <a:gd name="T0" fmla="*/ 173 w 307"/>
              <a:gd name="T1" fmla="*/ 447 h 512"/>
              <a:gd name="T2" fmla="*/ 307 w 307"/>
              <a:gd name="T3" fmla="*/ 153 h 512"/>
              <a:gd name="T4" fmla="*/ 153 w 307"/>
              <a:gd name="T5" fmla="*/ 0 h 512"/>
              <a:gd name="T6" fmla="*/ 0 w 307"/>
              <a:gd name="T7" fmla="*/ 153 h 512"/>
              <a:gd name="T8" fmla="*/ 134 w 307"/>
              <a:gd name="T9" fmla="*/ 447 h 512"/>
              <a:gd name="T10" fmla="*/ 32 w 307"/>
              <a:gd name="T11" fmla="*/ 480 h 512"/>
              <a:gd name="T12" fmla="*/ 153 w 307"/>
              <a:gd name="T13" fmla="*/ 512 h 512"/>
              <a:gd name="T14" fmla="*/ 275 w 307"/>
              <a:gd name="T15" fmla="*/ 480 h 512"/>
              <a:gd name="T16" fmla="*/ 173 w 307"/>
              <a:gd name="T17" fmla="*/ 447 h 512"/>
              <a:gd name="T18" fmla="*/ 56 w 307"/>
              <a:gd name="T19" fmla="*/ 154 h 512"/>
              <a:gd name="T20" fmla="*/ 153 w 307"/>
              <a:gd name="T21" fmla="*/ 56 h 512"/>
              <a:gd name="T22" fmla="*/ 251 w 307"/>
              <a:gd name="T23" fmla="*/ 154 h 512"/>
              <a:gd name="T24" fmla="*/ 153 w 307"/>
              <a:gd name="T25" fmla="*/ 251 h 512"/>
              <a:gd name="T26" fmla="*/ 56 w 307"/>
              <a:gd name="T27" fmla="*/ 15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7" h="512">
                <a:moveTo>
                  <a:pt x="173" y="447"/>
                </a:moveTo>
                <a:cubicBezTo>
                  <a:pt x="215" y="379"/>
                  <a:pt x="307" y="218"/>
                  <a:pt x="307" y="153"/>
                </a:cubicBezTo>
                <a:cubicBezTo>
                  <a:pt x="307" y="68"/>
                  <a:pt x="238" y="0"/>
                  <a:pt x="153" y="0"/>
                </a:cubicBezTo>
                <a:cubicBezTo>
                  <a:pt x="69" y="0"/>
                  <a:pt x="0" y="68"/>
                  <a:pt x="0" y="153"/>
                </a:cubicBezTo>
                <a:cubicBezTo>
                  <a:pt x="0" y="218"/>
                  <a:pt x="92" y="379"/>
                  <a:pt x="134" y="447"/>
                </a:cubicBezTo>
                <a:cubicBezTo>
                  <a:pt x="76" y="450"/>
                  <a:pt x="32" y="463"/>
                  <a:pt x="32" y="480"/>
                </a:cubicBezTo>
                <a:cubicBezTo>
                  <a:pt x="32" y="498"/>
                  <a:pt x="87" y="512"/>
                  <a:pt x="153" y="512"/>
                </a:cubicBezTo>
                <a:cubicBezTo>
                  <a:pt x="220" y="512"/>
                  <a:pt x="275" y="498"/>
                  <a:pt x="275" y="480"/>
                </a:cubicBezTo>
                <a:cubicBezTo>
                  <a:pt x="275" y="463"/>
                  <a:pt x="231" y="450"/>
                  <a:pt x="173" y="447"/>
                </a:cubicBezTo>
                <a:close/>
                <a:moveTo>
                  <a:pt x="56" y="154"/>
                </a:moveTo>
                <a:cubicBezTo>
                  <a:pt x="56" y="100"/>
                  <a:pt x="99" y="56"/>
                  <a:pt x="153" y="56"/>
                </a:cubicBezTo>
                <a:cubicBezTo>
                  <a:pt x="207" y="56"/>
                  <a:pt x="251" y="100"/>
                  <a:pt x="251" y="154"/>
                </a:cubicBezTo>
                <a:cubicBezTo>
                  <a:pt x="251" y="208"/>
                  <a:pt x="207" y="251"/>
                  <a:pt x="153" y="251"/>
                </a:cubicBezTo>
                <a:cubicBezTo>
                  <a:pt x="99" y="251"/>
                  <a:pt x="56" y="208"/>
                  <a:pt x="56" y="1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372" tIns="45686" rIns="91372" bIns="4568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85267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ÖLG_win2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9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 </a:t>
            </a:r>
            <a:endParaRPr lang="de-AT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Untertitel, Arial 16 PT. CAPS</a:t>
            </a:r>
            <a:endParaRPr lang="de-AT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/>
              <a:t>1) Fußnote</a:t>
            </a:r>
            <a:br>
              <a:rPr lang="de-DE"/>
            </a:br>
            <a:r>
              <a:rPr lang="de-DE"/>
              <a:t>2) Fußnote</a:t>
            </a:r>
          </a:p>
          <a:p>
            <a:pPr lvl="0"/>
            <a:r>
              <a:rPr lang="de-DE"/>
              <a:t>Quelle: </a:t>
            </a:r>
            <a:endParaRPr lang="de-AT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A3533C5-615E-4CD9-9B40-C1D954FF65B6}"/>
              </a:ext>
            </a:extLst>
          </p:cNvPr>
          <p:cNvGrpSpPr/>
          <p:nvPr userDrawn="1"/>
        </p:nvGrpSpPr>
        <p:grpSpPr>
          <a:xfrm>
            <a:off x="5428738" y="6587987"/>
            <a:ext cx="1337700" cy="186393"/>
            <a:chOff x="4342549" y="6587986"/>
            <a:chExt cx="1003014" cy="186393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B38CB424-6CE2-48CA-BE44-B6E746DDD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2549" y="6588441"/>
              <a:ext cx="185938" cy="185938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D129382-B955-407C-B995-E5B7E35E5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5060" y="6588441"/>
              <a:ext cx="185483" cy="185483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1832B37-D892-4BDF-A1DC-0E0C0D2E8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9625" y="6587986"/>
              <a:ext cx="185938" cy="185938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3147D769-6CEE-4E78-AD11-F9558E5E2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7115" y="6587986"/>
              <a:ext cx="185938" cy="1859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42314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ÖLG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07629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5" name="Picture 3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374" y="5874358"/>
            <a:ext cx="2032426" cy="486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259434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LG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863542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Agenda Lotteri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EC8333B8-F32F-487C-82FE-559AB3D271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B2D5CF8F-D82B-4D77-A1A3-E390D58D5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4" y="6588441"/>
            <a:ext cx="185483" cy="185483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1B190CC2-4C5F-4274-9710-66CF3C62E21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569" y="6587986"/>
            <a:ext cx="185938" cy="185938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6BA190A3-97CC-4112-B653-A74F6EB93FC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9" y="6587986"/>
            <a:ext cx="185938" cy="185938"/>
          </a:xfrm>
          <a:prstGeom prst="rect">
            <a:avLst/>
          </a:prstGeom>
        </p:spPr>
      </p:pic>
      <p:sp>
        <p:nvSpPr>
          <p:cNvPr id="3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891027" y="9261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</a:t>
            </a:r>
          </a:p>
        </p:txBody>
      </p:sp>
      <p:sp>
        <p:nvSpPr>
          <p:cNvPr id="3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34520" y="9261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0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891027" y="14810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2</a:t>
            </a:r>
          </a:p>
        </p:txBody>
      </p:sp>
      <p:sp>
        <p:nvSpPr>
          <p:cNvPr id="41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34520" y="14810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2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1027" y="20360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3</a:t>
            </a:r>
          </a:p>
        </p:txBody>
      </p:sp>
      <p:sp>
        <p:nvSpPr>
          <p:cNvPr id="43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520" y="20360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1027" y="25909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4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520" y="25909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891027" y="314590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5</a:t>
            </a:r>
          </a:p>
        </p:txBody>
      </p:sp>
      <p:sp>
        <p:nvSpPr>
          <p:cNvPr id="49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520" y="314590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91027" y="37008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6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334520" y="37008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891027" y="42557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7</a:t>
            </a:r>
          </a:p>
        </p:txBody>
      </p:sp>
      <p:sp>
        <p:nvSpPr>
          <p:cNvPr id="53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334520" y="42557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54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891027" y="48107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8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334520" y="48107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891027" y="53656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9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334520" y="53656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891027" y="5920599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0</a:t>
            </a:r>
          </a:p>
        </p:txBody>
      </p:sp>
      <p:sp>
        <p:nvSpPr>
          <p:cNvPr id="59" name="Textplatzhalter 17"/>
          <p:cNvSpPr>
            <a:spLocks noGrp="1"/>
          </p:cNvSpPr>
          <p:nvPr>
            <p:ph type="body" sz="quarter" idx="33" hasCustomPrompt="1"/>
          </p:nvPr>
        </p:nvSpPr>
        <p:spPr>
          <a:xfrm>
            <a:off x="334520" y="5920599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5737849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L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9660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C8333B8-F32F-487C-82FE-559AB3D271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2D5CF8F-D82B-4D77-A1A3-E390D58D5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4" y="6588441"/>
            <a:ext cx="185483" cy="18548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B190CC2-4C5F-4274-9710-66CF3C62E21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569" y="6587986"/>
            <a:ext cx="185938" cy="1859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BA190A3-97CC-4112-B653-A74F6EB93FC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9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0031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LG_ Österr. Lotteri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85202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74021C5-2000-41D1-8454-19682620EB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24FF127C-F433-4A4C-8501-BC9A1371335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4" y="6588441"/>
            <a:ext cx="185483" cy="18548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455900A-F915-4C32-A9F8-2D4607C5653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569" y="6587986"/>
            <a:ext cx="185938" cy="1859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032BBCD-9124-4841-AF0A-43D44BA6209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9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6063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in2day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682840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0" name="Picture 12" descr="I:\kunden\Casinos Austria\Input für Baseform\Logos\w2d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136" y="5811657"/>
            <a:ext cx="1283729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32367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LG_win2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93971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C94027-45EB-4854-9FE9-ACECF1E73C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51E91FE-70B5-4DA6-BDC4-4EE8FC56857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4" y="6588441"/>
            <a:ext cx="185483" cy="18548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9F6AE54-B1A0-4398-8F41-C63731677A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569" y="6587986"/>
            <a:ext cx="185938" cy="1859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0F1D55BB-B3D0-46AE-9556-2F9ADE845C9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9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5511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inwin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937461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3169" y="5811657"/>
            <a:ext cx="1225663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134154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LG_win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263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64E2242-C7A4-4827-95A0-93FB28A13C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95BE739-D7D5-430C-85D7-1362698FA5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4" y="6588441"/>
            <a:ext cx="185483" cy="18548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82C6D09F-2C05-40D9-961A-1B66BBD67A6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569" y="6587986"/>
            <a:ext cx="185938" cy="1859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884CC66-5EB2-4E1D-A876-3CC2C6F0743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9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0503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pp3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94521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13" name="Picture 3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3643" y="5829657"/>
            <a:ext cx="114789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68439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 Grupp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78823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2000" b="1" i="0" baseline="0" dirty="0" err="1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Agenda CASAG Grupp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  <p:sp>
        <p:nvSpPr>
          <p:cNvPr id="36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891027" y="9261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</a:t>
            </a:r>
          </a:p>
        </p:txBody>
      </p:sp>
      <p:sp>
        <p:nvSpPr>
          <p:cNvPr id="37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34520" y="9261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891027" y="14810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2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34520" y="14810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1027" y="20360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3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520" y="20360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1027" y="25909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4</a:t>
            </a:r>
          </a:p>
        </p:txBody>
      </p:sp>
      <p:sp>
        <p:nvSpPr>
          <p:cNvPr id="49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520" y="25909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891027" y="314590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5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520" y="314590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91027" y="370084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6</a:t>
            </a:r>
          </a:p>
        </p:txBody>
      </p:sp>
      <p:sp>
        <p:nvSpPr>
          <p:cNvPr id="53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334520" y="370084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54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891027" y="425578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7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334520" y="425578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891027" y="481072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8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334520" y="481072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891027" y="5365663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9</a:t>
            </a:r>
          </a:p>
        </p:txBody>
      </p:sp>
      <p:sp>
        <p:nvSpPr>
          <p:cNvPr id="59" name="Textplatzhalt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334520" y="5365663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60" name="Textplatzhalt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891027" y="5920599"/>
            <a:ext cx="1096918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Agenda 10</a:t>
            </a:r>
          </a:p>
        </p:txBody>
      </p:sp>
      <p:sp>
        <p:nvSpPr>
          <p:cNvPr id="61" name="Textplatzhalter 17"/>
          <p:cNvSpPr>
            <a:spLocks noGrp="1"/>
          </p:cNvSpPr>
          <p:nvPr>
            <p:ph type="body" sz="quarter" idx="33" hasCustomPrompt="1"/>
          </p:nvPr>
        </p:nvSpPr>
        <p:spPr>
          <a:xfrm>
            <a:off x="334520" y="5920599"/>
            <a:ext cx="496076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5652129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LG_tipp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187539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 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8088BB2-B48C-4FC0-9902-B15594E1D1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54B8CC2-C642-4B11-AA9A-EA271D32D5B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4" y="6588441"/>
            <a:ext cx="185483" cy="18548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C2D9F6D-FDEB-4DCA-A263-7AB22F9210C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569" y="6587986"/>
            <a:ext cx="185938" cy="1859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91D2BC0-9D46-43E1-B327-C44DFBC3795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9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3995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AG Grup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156259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8"/>
            <a:ext cx="11526134" cy="1538883"/>
          </a:xfrm>
        </p:spPr>
        <p:txBody>
          <a:bodyPr/>
          <a:lstStyle>
            <a:lvl1pPr>
              <a:defRPr b="0"/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Untertitel, Arial 16 PT. CAPS</a:t>
            </a:r>
            <a:endParaRPr lang="de-AT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2) Fußnote</a:t>
            </a:r>
          </a:p>
          <a:p>
            <a:pPr lvl="0"/>
            <a:r>
              <a:rPr lang="de-DE" dirty="0"/>
              <a:t>Quelle: </a:t>
            </a:r>
            <a:endParaRPr lang="de-AT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5BAC407-CE91-4934-9E19-FF5C022F4E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003" y="6588441"/>
            <a:ext cx="185483" cy="18593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7B0EC8-B8D8-4EC1-B739-08BD5E56BF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438" y="6588441"/>
            <a:ext cx="185483" cy="18593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B205755-C48B-42B8-B796-E7976983182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93" y="6588441"/>
            <a:ext cx="185938" cy="1859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DC332C6-42BE-4C71-ABD4-333B645B0C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58" y="6588441"/>
            <a:ext cx="185483" cy="18548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7975730A-CD22-4111-8056-D003AE55DC4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625" y="6587986"/>
            <a:ext cx="185938" cy="1859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276E4DA-E7D5-4DA7-8B3C-5F347DE359E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13" y="6587986"/>
            <a:ext cx="185938" cy="1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22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ÖLG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1" name="Objek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/>
              <a:t>Agenda Lotteri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FA3533C5-615E-4CD9-9B40-C1D954FF65B6}"/>
              </a:ext>
            </a:extLst>
          </p:cNvPr>
          <p:cNvGrpSpPr/>
          <p:nvPr userDrawn="1"/>
        </p:nvGrpSpPr>
        <p:grpSpPr>
          <a:xfrm>
            <a:off x="5428738" y="6587987"/>
            <a:ext cx="1337700" cy="186393"/>
            <a:chOff x="4342549" y="6587986"/>
            <a:chExt cx="1003014" cy="186393"/>
          </a:xfrm>
        </p:grpSpPr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B38CB424-6CE2-48CA-BE44-B6E746DDD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2549" y="6588441"/>
              <a:ext cx="185938" cy="185938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9D129382-B955-407C-B995-E5B7E35E5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5060" y="6588441"/>
              <a:ext cx="185483" cy="185483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41832B37-D892-4BDF-A1DC-0E0C0D2E8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9625" y="6587986"/>
              <a:ext cx="185938" cy="185938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3147D769-6CEE-4E78-AD11-F9558E5E2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7115" y="6587986"/>
              <a:ext cx="185938" cy="185938"/>
            </a:xfrm>
            <a:prstGeom prst="rect">
              <a:avLst/>
            </a:prstGeom>
          </p:spPr>
        </p:pic>
      </p:grpSp>
      <p:sp>
        <p:nvSpPr>
          <p:cNvPr id="41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087311" y="92614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1</a:t>
            </a:r>
          </a:p>
        </p:txBody>
      </p:sp>
      <p:sp>
        <p:nvSpPr>
          <p:cNvPr id="42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45108" y="92614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3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1087311" y="148108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2</a:t>
            </a:r>
          </a:p>
        </p:txBody>
      </p:sp>
      <p:sp>
        <p:nvSpPr>
          <p:cNvPr id="44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45108" y="148108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087311" y="203602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3</a:t>
            </a:r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45108" y="203602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87311" y="259096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4</a:t>
            </a:r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45108" y="259096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49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1087311" y="314590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5</a:t>
            </a: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45108" y="314590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1087311" y="370084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6</a:t>
            </a:r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345108" y="370084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53" name="Textplatzhalt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1087311" y="425578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7</a:t>
            </a:r>
          </a:p>
        </p:txBody>
      </p:sp>
      <p:sp>
        <p:nvSpPr>
          <p:cNvPr id="54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345108" y="425578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1087311" y="481072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8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345108" y="481072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8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1087311" y="5365663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9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345108" y="5365663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9</a:t>
            </a:r>
          </a:p>
        </p:txBody>
      </p:sp>
      <p:sp>
        <p:nvSpPr>
          <p:cNvPr id="59" name="Textplatzhalt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1087311" y="5920599"/>
            <a:ext cx="10773343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Agenda 10</a:t>
            </a:r>
          </a:p>
        </p:txBody>
      </p:sp>
      <p:sp>
        <p:nvSpPr>
          <p:cNvPr id="60" name="Textplatzhalter 17"/>
          <p:cNvSpPr>
            <a:spLocks noGrp="1"/>
          </p:cNvSpPr>
          <p:nvPr>
            <p:ph type="body" sz="quarter" idx="33" hasCustomPrompt="1"/>
          </p:nvPr>
        </p:nvSpPr>
        <p:spPr>
          <a:xfrm>
            <a:off x="345108" y="5920599"/>
            <a:ext cx="661607" cy="496076"/>
          </a:xfrm>
          <a:solidFill>
            <a:schemeClr val="accent1"/>
          </a:solidFill>
        </p:spPr>
        <p:txBody>
          <a:bodyPr lIns="90000" rIns="90000" anchor="ctr" anchorCtr="0">
            <a:noAutofit/>
          </a:bodyPr>
          <a:lstStyle>
            <a:lvl1pPr algn="ctr">
              <a:defRPr sz="1800" b="0">
                <a:solidFill>
                  <a:schemeClr val="accent5"/>
                </a:solidFill>
              </a:defRPr>
            </a:lvl1pPr>
            <a:lvl2pPr marL="180975" indent="-180975">
              <a:buClr>
                <a:schemeClr val="bg2"/>
              </a:buClr>
              <a:buFont typeface="Wingdings" panose="05000000000000000000" pitchFamily="2" charset="2"/>
              <a:buChar char="§"/>
              <a:defRPr/>
            </a:lvl2pPr>
            <a:lvl3pPr marL="361950" indent="-180975">
              <a:buFont typeface="Symbol" panose="05050102010706020507" pitchFamily="18" charset="2"/>
              <a:buChar char="-"/>
              <a:defRPr/>
            </a:lvl3pPr>
            <a:lvl4pPr marL="534988" indent="-180975">
              <a:buFont typeface="Arial" panose="020B0604020202020204" pitchFamily="34" charset="0"/>
              <a:buChar char="•"/>
              <a:defRPr/>
            </a:lvl4pPr>
            <a:lvl5pPr marL="715963" indent="-1730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60450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ÖLG_win2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Mastertitel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/>
              <a:t>Vertraulich, 13.11.2019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334521" y="1627189"/>
            <a:ext cx="11526134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 </a:t>
            </a:r>
            <a:endParaRPr lang="de-AT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521" y="926173"/>
            <a:ext cx="11526134" cy="246221"/>
          </a:xfrm>
        </p:spPr>
        <p:txBody>
          <a:bodyPr/>
          <a:lstStyle>
            <a:lvl1pPr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Untertitel, Arial 16 PT. CAPS</a:t>
            </a:r>
            <a:endParaRPr lang="de-AT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4521" y="5944426"/>
            <a:ext cx="11526134" cy="500137"/>
          </a:xfrm>
        </p:spPr>
        <p:txBody>
          <a:bodyPr anchor="b"/>
          <a:lstStyle>
            <a:lvl1pPr>
              <a:spcBef>
                <a:spcPts val="300"/>
              </a:spcBef>
              <a:defRPr sz="1000" b="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de-DE"/>
              <a:t>1) Fußnote</a:t>
            </a:r>
            <a:br>
              <a:rPr lang="de-DE"/>
            </a:br>
            <a:r>
              <a:rPr lang="de-DE"/>
              <a:t>2) Fußnote</a:t>
            </a:r>
          </a:p>
          <a:p>
            <a:pPr lvl="0"/>
            <a:r>
              <a:rPr lang="de-DE"/>
              <a:t>Quelle: </a:t>
            </a:r>
            <a:endParaRPr lang="de-AT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A3533C5-615E-4CD9-9B40-C1D954FF65B6}"/>
              </a:ext>
            </a:extLst>
          </p:cNvPr>
          <p:cNvGrpSpPr/>
          <p:nvPr userDrawn="1"/>
        </p:nvGrpSpPr>
        <p:grpSpPr>
          <a:xfrm>
            <a:off x="5428738" y="6587987"/>
            <a:ext cx="1337700" cy="186393"/>
            <a:chOff x="4342549" y="6587986"/>
            <a:chExt cx="1003014" cy="186393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B38CB424-6CE2-48CA-BE44-B6E746DDD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2549" y="6588441"/>
              <a:ext cx="185938" cy="185938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D129382-B955-407C-B995-E5B7E35E5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5060" y="6588441"/>
              <a:ext cx="185483" cy="185483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1832B37-D892-4BDF-A1DC-0E0C0D2E8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9625" y="6587986"/>
              <a:ext cx="185938" cy="185938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3147D769-6CEE-4E78-AD11-F9558E5E2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7115" y="6587986"/>
              <a:ext cx="185938" cy="1859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7587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SAG + ÖLG 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884116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620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0608" y="1661458"/>
            <a:ext cx="10853959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 der Präsentation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0608" y="4939271"/>
            <a:ext cx="10853959" cy="630942"/>
          </a:xfrm>
        </p:spPr>
        <p:txBody>
          <a:bodyPr anchor="b"/>
          <a:lstStyle>
            <a:lvl1pPr marL="0" indent="0" algn="l">
              <a:buNone/>
              <a:defRPr sz="18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/>
              <a:t>Untertitel, Vortragender 18 </a:t>
            </a:r>
            <a:r>
              <a:rPr lang="de-AT" dirty="0" err="1"/>
              <a:t>pt</a:t>
            </a:r>
            <a:r>
              <a:rPr lang="de-AT" dirty="0"/>
              <a:t>.</a:t>
            </a:r>
          </a:p>
          <a:p>
            <a:r>
              <a:rPr lang="de-AT" dirty="0"/>
              <a:t>Ort, Datu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16DEE5E-4323-456B-81E8-85E4AFCBC8C8}"/>
              </a:ext>
            </a:extLst>
          </p:cNvPr>
          <p:cNvSpPr/>
          <p:nvPr userDrawn="1"/>
        </p:nvSpPr>
        <p:spPr>
          <a:xfrm>
            <a:off x="0" y="5710688"/>
            <a:ext cx="12195175" cy="8139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3860698" y="5869165"/>
            <a:ext cx="4473778" cy="495828"/>
            <a:chOff x="5081298" y="5869165"/>
            <a:chExt cx="4473778" cy="495828"/>
          </a:xfrm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937A4DAE-EA35-4DED-BDE3-1C6F4FD802F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081298" y="5869165"/>
              <a:ext cx="2032578" cy="495828"/>
              <a:chOff x="2469356" y="3962187"/>
              <a:chExt cx="7253107" cy="1769326"/>
            </a:xfrm>
          </p:grpSpPr>
          <p:sp>
            <p:nvSpPr>
              <p:cNvPr id="64" name="Freihandform: Form 10">
                <a:extLst>
                  <a:ext uri="{FF2B5EF4-FFF2-40B4-BE49-F238E27FC236}">
                    <a16:creationId xmlns:a16="http://schemas.microsoft.com/office/drawing/2014/main" id="{C83265E7-D411-4032-829C-A3E9BFAC03EE}"/>
                  </a:ext>
                </a:extLst>
              </p:cNvPr>
              <p:cNvSpPr/>
              <p:nvPr/>
            </p:nvSpPr>
            <p:spPr>
              <a:xfrm>
                <a:off x="5701236" y="3962187"/>
                <a:ext cx="790575" cy="533400"/>
              </a:xfrm>
              <a:custGeom>
                <a:avLst/>
                <a:gdLst>
                  <a:gd name="connsiteX0" fmla="*/ 712718 w 790575"/>
                  <a:gd name="connsiteY0" fmla="*/ 121568 h 533400"/>
                  <a:gd name="connsiteX1" fmla="*/ 541315 w 790575"/>
                  <a:gd name="connsiteY1" fmla="*/ 75667 h 533400"/>
                  <a:gd name="connsiteX2" fmla="*/ 297780 w 790575"/>
                  <a:gd name="connsiteY2" fmla="*/ 254070 h 533400"/>
                  <a:gd name="connsiteX3" fmla="*/ 541315 w 790575"/>
                  <a:gd name="connsiteY3" fmla="*/ 432616 h 533400"/>
                  <a:gd name="connsiteX4" fmla="*/ 770172 w 790575"/>
                  <a:gd name="connsiteY4" fmla="*/ 298980 h 533400"/>
                  <a:gd name="connsiteX5" fmla="*/ 768134 w 790575"/>
                  <a:gd name="connsiteY5" fmla="*/ 302457 h 533400"/>
                  <a:gd name="connsiteX6" fmla="*/ 688982 w 790575"/>
                  <a:gd name="connsiteY6" fmla="*/ 344519 h 533400"/>
                  <a:gd name="connsiteX7" fmla="*/ 593703 w 790575"/>
                  <a:gd name="connsiteY7" fmla="*/ 249212 h 533400"/>
                  <a:gd name="connsiteX8" fmla="*/ 688982 w 790575"/>
                  <a:gd name="connsiteY8" fmla="*/ 153876 h 533400"/>
                  <a:gd name="connsiteX9" fmla="*/ 784346 w 790575"/>
                  <a:gd name="connsiteY9" fmla="*/ 249212 h 533400"/>
                  <a:gd name="connsiteX10" fmla="*/ 786127 w 790575"/>
                  <a:gd name="connsiteY10" fmla="*/ 270053 h 533400"/>
                  <a:gd name="connsiteX11" fmla="*/ 396583 w 790575"/>
                  <a:gd name="connsiteY11" fmla="*/ 532924 h 533400"/>
                  <a:gd name="connsiteX12" fmla="*/ 7144 w 790575"/>
                  <a:gd name="connsiteY12" fmla="*/ 270053 h 533400"/>
                  <a:gd name="connsiteX13" fmla="*/ 396583 w 790575"/>
                  <a:gd name="connsiteY13" fmla="*/ 7144 h 533400"/>
                  <a:gd name="connsiteX14" fmla="*/ 712718 w 790575"/>
                  <a:gd name="connsiteY14" fmla="*/ 121568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5" h="533400">
                    <a:moveTo>
                      <a:pt x="712718" y="121568"/>
                    </a:moveTo>
                    <a:cubicBezTo>
                      <a:pt x="668874" y="90268"/>
                      <a:pt x="608171" y="75667"/>
                      <a:pt x="541315" y="75667"/>
                    </a:cubicBezTo>
                    <a:cubicBezTo>
                      <a:pt x="406698" y="75667"/>
                      <a:pt x="297780" y="155524"/>
                      <a:pt x="297780" y="254070"/>
                    </a:cubicBezTo>
                    <a:cubicBezTo>
                      <a:pt x="297780" y="352596"/>
                      <a:pt x="406698" y="432616"/>
                      <a:pt x="541315" y="432616"/>
                    </a:cubicBezTo>
                    <a:cubicBezTo>
                      <a:pt x="654110" y="432616"/>
                      <a:pt x="744722" y="348015"/>
                      <a:pt x="770172" y="298980"/>
                    </a:cubicBezTo>
                    <a:lnTo>
                      <a:pt x="768134" y="302457"/>
                    </a:lnTo>
                    <a:cubicBezTo>
                      <a:pt x="750904" y="327793"/>
                      <a:pt x="721976" y="344519"/>
                      <a:pt x="688982" y="344519"/>
                    </a:cubicBezTo>
                    <a:cubicBezTo>
                      <a:pt x="636413" y="344519"/>
                      <a:pt x="593703" y="301752"/>
                      <a:pt x="593703" y="249212"/>
                    </a:cubicBezTo>
                    <a:cubicBezTo>
                      <a:pt x="593703" y="196425"/>
                      <a:pt x="636413" y="153876"/>
                      <a:pt x="688982" y="153876"/>
                    </a:cubicBezTo>
                    <a:cubicBezTo>
                      <a:pt x="741693" y="153876"/>
                      <a:pt x="784346" y="196415"/>
                      <a:pt x="784346" y="249212"/>
                    </a:cubicBezTo>
                    <a:lnTo>
                      <a:pt x="786127" y="270053"/>
                    </a:lnTo>
                    <a:cubicBezTo>
                      <a:pt x="786127" y="415242"/>
                      <a:pt x="611705" y="532924"/>
                      <a:pt x="396583" y="532924"/>
                    </a:cubicBezTo>
                    <a:cubicBezTo>
                      <a:pt x="181537" y="532924"/>
                      <a:pt x="7144" y="415252"/>
                      <a:pt x="7144" y="270053"/>
                    </a:cubicBezTo>
                    <a:cubicBezTo>
                      <a:pt x="7144" y="124958"/>
                      <a:pt x="181537" y="7144"/>
                      <a:pt x="396583" y="7144"/>
                    </a:cubicBezTo>
                    <a:cubicBezTo>
                      <a:pt x="527313" y="7144"/>
                      <a:pt x="642156" y="54740"/>
                      <a:pt x="712718" y="121568"/>
                    </a:cubicBezTo>
                  </a:path>
                </a:pathLst>
              </a:custGeom>
              <a:solidFill>
                <a:srgbClr val="D6003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ihandform: Form 11">
                <a:extLst>
                  <a:ext uri="{FF2B5EF4-FFF2-40B4-BE49-F238E27FC236}">
                    <a16:creationId xmlns:a16="http://schemas.microsoft.com/office/drawing/2014/main" id="{D6E6A2AE-7C56-40A3-A1B1-FC1276076B10}"/>
                  </a:ext>
                </a:extLst>
              </p:cNvPr>
              <p:cNvSpPr/>
              <p:nvPr/>
            </p:nvSpPr>
            <p:spPr>
              <a:xfrm>
                <a:off x="3006719" y="4736341"/>
                <a:ext cx="533400" cy="704850"/>
              </a:xfrm>
              <a:custGeom>
                <a:avLst/>
                <a:gdLst>
                  <a:gd name="connsiteX0" fmla="*/ 311248 w 533400"/>
                  <a:gd name="connsiteY0" fmla="*/ 398507 h 704850"/>
                  <a:gd name="connsiteX1" fmla="*/ 207874 w 533400"/>
                  <a:gd name="connsiteY1" fmla="*/ 398507 h 704850"/>
                  <a:gd name="connsiteX2" fmla="*/ 259480 w 533400"/>
                  <a:gd name="connsiteY2" fmla="*/ 199901 h 704850"/>
                  <a:gd name="connsiteX3" fmla="*/ 311248 w 533400"/>
                  <a:gd name="connsiteY3" fmla="*/ 398507 h 704850"/>
                  <a:gd name="connsiteX4" fmla="*/ 305010 w 533400"/>
                  <a:gd name="connsiteY4" fmla="*/ 703974 h 704850"/>
                  <a:gd name="connsiteX5" fmla="*/ 527733 w 533400"/>
                  <a:gd name="connsiteY5" fmla="*/ 703974 h 704850"/>
                  <a:gd name="connsiteX6" fmla="*/ 527847 w 533400"/>
                  <a:gd name="connsiteY6" fmla="*/ 652815 h 704850"/>
                  <a:gd name="connsiteX7" fmla="*/ 492966 w 533400"/>
                  <a:gd name="connsiteY7" fmla="*/ 609876 h 704850"/>
                  <a:gd name="connsiteX8" fmla="*/ 333061 w 533400"/>
                  <a:gd name="connsiteY8" fmla="*/ 7144 h 704850"/>
                  <a:gd name="connsiteX9" fmla="*/ 220161 w 533400"/>
                  <a:gd name="connsiteY9" fmla="*/ 7144 h 704850"/>
                  <a:gd name="connsiteX10" fmla="*/ 65446 w 533400"/>
                  <a:gd name="connsiteY10" fmla="*/ 592703 h 704850"/>
                  <a:gd name="connsiteX11" fmla="*/ 7144 w 533400"/>
                  <a:gd name="connsiteY11" fmla="*/ 654253 h 704850"/>
                  <a:gd name="connsiteX12" fmla="*/ 7144 w 533400"/>
                  <a:gd name="connsiteY12" fmla="*/ 703974 h 704850"/>
                  <a:gd name="connsiteX13" fmla="*/ 214189 w 533400"/>
                  <a:gd name="connsiteY13" fmla="*/ 703974 h 704850"/>
                  <a:gd name="connsiteX14" fmla="*/ 214189 w 533400"/>
                  <a:gd name="connsiteY14" fmla="*/ 654253 h 704850"/>
                  <a:gd name="connsiteX15" fmla="*/ 166621 w 533400"/>
                  <a:gd name="connsiteY15" fmla="*/ 629793 h 704850"/>
                  <a:gd name="connsiteX16" fmla="*/ 155696 w 533400"/>
                  <a:gd name="connsiteY16" fmla="*/ 591150 h 704850"/>
                  <a:gd name="connsiteX17" fmla="*/ 190919 w 533400"/>
                  <a:gd name="connsiteY17" fmla="*/ 464182 h 704850"/>
                  <a:gd name="connsiteX18" fmla="*/ 328251 w 533400"/>
                  <a:gd name="connsiteY18" fmla="*/ 464182 h 704850"/>
                  <a:gd name="connsiteX19" fmla="*/ 363445 w 533400"/>
                  <a:gd name="connsiteY19" fmla="*/ 590702 h 704850"/>
                  <a:gd name="connsiteX20" fmla="*/ 352539 w 533400"/>
                  <a:gd name="connsiteY20" fmla="*/ 629793 h 704850"/>
                  <a:gd name="connsiteX21" fmla="*/ 305000 w 533400"/>
                  <a:gd name="connsiteY21" fmla="*/ 654253 h 704850"/>
                  <a:gd name="connsiteX22" fmla="*/ 305000 w 533400"/>
                  <a:gd name="connsiteY22" fmla="*/ 703974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33400" h="704850">
                    <a:moveTo>
                      <a:pt x="311248" y="398507"/>
                    </a:moveTo>
                    <a:lnTo>
                      <a:pt x="207874" y="398507"/>
                    </a:lnTo>
                    <a:lnTo>
                      <a:pt x="259480" y="199901"/>
                    </a:lnTo>
                    <a:lnTo>
                      <a:pt x="311248" y="398507"/>
                    </a:lnTo>
                    <a:close/>
                    <a:moveTo>
                      <a:pt x="305010" y="703974"/>
                    </a:moveTo>
                    <a:lnTo>
                      <a:pt x="527733" y="703974"/>
                    </a:lnTo>
                    <a:lnTo>
                      <a:pt x="527847" y="652815"/>
                    </a:lnTo>
                    <a:cubicBezTo>
                      <a:pt x="510616" y="644080"/>
                      <a:pt x="497996" y="628583"/>
                      <a:pt x="492966" y="609876"/>
                    </a:cubicBezTo>
                    <a:lnTo>
                      <a:pt x="333061" y="7144"/>
                    </a:lnTo>
                    <a:lnTo>
                      <a:pt x="220161" y="7144"/>
                    </a:lnTo>
                    <a:lnTo>
                      <a:pt x="65446" y="592703"/>
                    </a:lnTo>
                    <a:cubicBezTo>
                      <a:pt x="61636" y="606885"/>
                      <a:pt x="46301" y="651539"/>
                      <a:pt x="7144" y="654253"/>
                    </a:cubicBezTo>
                    <a:lnTo>
                      <a:pt x="7144" y="703974"/>
                    </a:lnTo>
                    <a:lnTo>
                      <a:pt x="214189" y="703974"/>
                    </a:lnTo>
                    <a:lnTo>
                      <a:pt x="214189" y="654253"/>
                    </a:lnTo>
                    <a:cubicBezTo>
                      <a:pt x="196082" y="653044"/>
                      <a:pt x="178260" y="643804"/>
                      <a:pt x="166621" y="629793"/>
                    </a:cubicBezTo>
                    <a:cubicBezTo>
                      <a:pt x="156905" y="618096"/>
                      <a:pt x="153038" y="604399"/>
                      <a:pt x="155696" y="591150"/>
                    </a:cubicBezTo>
                    <a:lnTo>
                      <a:pt x="190919" y="464182"/>
                    </a:lnTo>
                    <a:lnTo>
                      <a:pt x="328251" y="464182"/>
                    </a:lnTo>
                    <a:lnTo>
                      <a:pt x="363445" y="590702"/>
                    </a:lnTo>
                    <a:cubicBezTo>
                      <a:pt x="366160" y="604399"/>
                      <a:pt x="362283" y="618096"/>
                      <a:pt x="352539" y="629793"/>
                    </a:cubicBezTo>
                    <a:cubicBezTo>
                      <a:pt x="340985" y="643804"/>
                      <a:pt x="323107" y="653034"/>
                      <a:pt x="305000" y="654253"/>
                    </a:cubicBezTo>
                    <a:lnTo>
                      <a:pt x="305000" y="703974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ihandform: Form 12">
                <a:extLst>
                  <a:ext uri="{FF2B5EF4-FFF2-40B4-BE49-F238E27FC236}">
                    <a16:creationId xmlns:a16="http://schemas.microsoft.com/office/drawing/2014/main" id="{8423679F-B75D-46EE-9C9C-47ABC0070B0F}"/>
                  </a:ext>
                </a:extLst>
              </p:cNvPr>
              <p:cNvSpPr/>
              <p:nvPr/>
            </p:nvSpPr>
            <p:spPr>
              <a:xfrm>
                <a:off x="4027675" y="4736494"/>
                <a:ext cx="247650" cy="704850"/>
              </a:xfrm>
              <a:custGeom>
                <a:avLst/>
                <a:gdLst>
                  <a:gd name="connsiteX0" fmla="*/ 7144 w 247650"/>
                  <a:gd name="connsiteY0" fmla="*/ 704488 h 704850"/>
                  <a:gd name="connsiteX1" fmla="*/ 240573 w 247650"/>
                  <a:gd name="connsiteY1" fmla="*/ 704488 h 704850"/>
                  <a:gd name="connsiteX2" fmla="*/ 240573 w 247650"/>
                  <a:gd name="connsiteY2" fmla="*/ 654634 h 704850"/>
                  <a:gd name="connsiteX3" fmla="*/ 181956 w 247650"/>
                  <a:gd name="connsiteY3" fmla="*/ 592465 h 704850"/>
                  <a:gd name="connsiteX4" fmla="*/ 181956 w 247650"/>
                  <a:gd name="connsiteY4" fmla="*/ 119253 h 704850"/>
                  <a:gd name="connsiteX5" fmla="*/ 240573 w 247650"/>
                  <a:gd name="connsiteY5" fmla="*/ 56769 h 704850"/>
                  <a:gd name="connsiteX6" fmla="*/ 240573 w 247650"/>
                  <a:gd name="connsiteY6" fmla="*/ 7144 h 704850"/>
                  <a:gd name="connsiteX7" fmla="*/ 7144 w 247650"/>
                  <a:gd name="connsiteY7" fmla="*/ 7144 h 704850"/>
                  <a:gd name="connsiteX8" fmla="*/ 7144 w 247650"/>
                  <a:gd name="connsiteY8" fmla="*/ 56769 h 704850"/>
                  <a:gd name="connsiteX9" fmla="*/ 65694 w 247650"/>
                  <a:gd name="connsiteY9" fmla="*/ 119253 h 704850"/>
                  <a:gd name="connsiteX10" fmla="*/ 65694 w 247650"/>
                  <a:gd name="connsiteY10" fmla="*/ 592474 h 704850"/>
                  <a:gd name="connsiteX11" fmla="*/ 7144 w 247650"/>
                  <a:gd name="connsiteY11" fmla="*/ 654644 h 704850"/>
                  <a:gd name="connsiteX12" fmla="*/ 7144 w 247650"/>
                  <a:gd name="connsiteY12" fmla="*/ 704488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7650" h="704850">
                    <a:moveTo>
                      <a:pt x="7144" y="704488"/>
                    </a:moveTo>
                    <a:lnTo>
                      <a:pt x="240573" y="704488"/>
                    </a:lnTo>
                    <a:lnTo>
                      <a:pt x="240573" y="654634"/>
                    </a:lnTo>
                    <a:cubicBezTo>
                      <a:pt x="208007" y="652682"/>
                      <a:pt x="181956" y="625478"/>
                      <a:pt x="181956" y="592465"/>
                    </a:cubicBezTo>
                    <a:lnTo>
                      <a:pt x="181956" y="119253"/>
                    </a:lnTo>
                    <a:cubicBezTo>
                      <a:pt x="181956" y="86096"/>
                      <a:pt x="207997" y="58807"/>
                      <a:pt x="240573" y="56769"/>
                    </a:cubicBezTo>
                    <a:lnTo>
                      <a:pt x="240573" y="7144"/>
                    </a:lnTo>
                    <a:lnTo>
                      <a:pt x="7144" y="7144"/>
                    </a:lnTo>
                    <a:lnTo>
                      <a:pt x="7144" y="56769"/>
                    </a:lnTo>
                    <a:cubicBezTo>
                      <a:pt x="39767" y="58798"/>
                      <a:pt x="65694" y="86087"/>
                      <a:pt x="65694" y="119253"/>
                    </a:cubicBezTo>
                    <a:lnTo>
                      <a:pt x="65694" y="592474"/>
                    </a:lnTo>
                    <a:cubicBezTo>
                      <a:pt x="65694" y="625497"/>
                      <a:pt x="39767" y="652701"/>
                      <a:pt x="7144" y="654644"/>
                    </a:cubicBezTo>
                    <a:lnTo>
                      <a:pt x="7144" y="70448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ihandform: Form 13">
                <a:extLst>
                  <a:ext uri="{FF2B5EF4-FFF2-40B4-BE49-F238E27FC236}">
                    <a16:creationId xmlns:a16="http://schemas.microsoft.com/office/drawing/2014/main" id="{A2E45EB4-0823-404F-942E-A2C5F3D234C4}"/>
                  </a:ext>
                </a:extLst>
              </p:cNvPr>
              <p:cNvSpPr/>
              <p:nvPr/>
            </p:nvSpPr>
            <p:spPr>
              <a:xfrm>
                <a:off x="4880505" y="4724968"/>
                <a:ext cx="495300" cy="733425"/>
              </a:xfrm>
              <a:custGeom>
                <a:avLst/>
                <a:gdLst>
                  <a:gd name="connsiteX0" fmla="*/ 248088 w 495300"/>
                  <a:gd name="connsiteY0" fmla="*/ 650967 h 733425"/>
                  <a:gd name="connsiteX1" fmla="*/ 137074 w 495300"/>
                  <a:gd name="connsiteY1" fmla="*/ 366979 h 733425"/>
                  <a:gd name="connsiteX2" fmla="*/ 248088 w 495300"/>
                  <a:gd name="connsiteY2" fmla="*/ 83125 h 733425"/>
                  <a:gd name="connsiteX3" fmla="*/ 359102 w 495300"/>
                  <a:gd name="connsiteY3" fmla="*/ 366979 h 733425"/>
                  <a:gd name="connsiteX4" fmla="*/ 248088 w 495300"/>
                  <a:gd name="connsiteY4" fmla="*/ 650967 h 733425"/>
                  <a:gd name="connsiteX5" fmla="*/ 248088 w 495300"/>
                  <a:gd name="connsiteY5" fmla="*/ 7144 h 733425"/>
                  <a:gd name="connsiteX6" fmla="*/ 7144 w 495300"/>
                  <a:gd name="connsiteY6" fmla="*/ 366979 h 733425"/>
                  <a:gd name="connsiteX7" fmla="*/ 248088 w 495300"/>
                  <a:gd name="connsiteY7" fmla="*/ 727043 h 733425"/>
                  <a:gd name="connsiteX8" fmla="*/ 489147 w 495300"/>
                  <a:gd name="connsiteY8" fmla="*/ 366979 h 733425"/>
                  <a:gd name="connsiteX9" fmla="*/ 248088 w 495300"/>
                  <a:gd name="connsiteY9" fmla="*/ 7144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95300" h="733425">
                    <a:moveTo>
                      <a:pt x="248088" y="650967"/>
                    </a:moveTo>
                    <a:cubicBezTo>
                      <a:pt x="185833" y="650967"/>
                      <a:pt x="137074" y="526228"/>
                      <a:pt x="137074" y="366979"/>
                    </a:cubicBezTo>
                    <a:cubicBezTo>
                      <a:pt x="137074" y="207778"/>
                      <a:pt x="185833" y="83125"/>
                      <a:pt x="248088" y="83125"/>
                    </a:cubicBezTo>
                    <a:cubicBezTo>
                      <a:pt x="310344" y="83125"/>
                      <a:pt x="359102" y="207778"/>
                      <a:pt x="359102" y="366979"/>
                    </a:cubicBezTo>
                    <a:cubicBezTo>
                      <a:pt x="359092" y="526228"/>
                      <a:pt x="310344" y="650967"/>
                      <a:pt x="248088" y="650967"/>
                    </a:cubicBezTo>
                    <a:moveTo>
                      <a:pt x="248088" y="7144"/>
                    </a:moveTo>
                    <a:cubicBezTo>
                      <a:pt x="115214" y="7144"/>
                      <a:pt x="7144" y="168488"/>
                      <a:pt x="7144" y="366979"/>
                    </a:cubicBezTo>
                    <a:cubicBezTo>
                      <a:pt x="7144" y="565585"/>
                      <a:pt x="115214" y="727043"/>
                      <a:pt x="248088" y="727043"/>
                    </a:cubicBezTo>
                    <a:cubicBezTo>
                      <a:pt x="380962" y="727043"/>
                      <a:pt x="489147" y="565585"/>
                      <a:pt x="489147" y="366979"/>
                    </a:cubicBezTo>
                    <a:cubicBezTo>
                      <a:pt x="489147" y="168488"/>
                      <a:pt x="380952" y="7144"/>
                      <a:pt x="248088" y="7144"/>
                    </a:cubicBezTo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ihandform: Form 14">
                <a:extLst>
                  <a:ext uri="{FF2B5EF4-FFF2-40B4-BE49-F238E27FC236}">
                    <a16:creationId xmlns:a16="http://schemas.microsoft.com/office/drawing/2014/main" id="{7076DD4E-7B03-43E8-8444-6D7955602AC0}"/>
                  </a:ext>
                </a:extLst>
              </p:cNvPr>
              <p:cNvSpPr/>
              <p:nvPr/>
            </p:nvSpPr>
            <p:spPr>
              <a:xfrm>
                <a:off x="3566341" y="4725111"/>
                <a:ext cx="409575" cy="733425"/>
              </a:xfrm>
              <a:custGeom>
                <a:avLst/>
                <a:gdLst>
                  <a:gd name="connsiteX0" fmla="*/ 116777 w 409575"/>
                  <a:gd name="connsiteY0" fmla="*/ 692210 h 733425"/>
                  <a:gd name="connsiteX1" fmla="*/ 120872 w 409575"/>
                  <a:gd name="connsiteY1" fmla="*/ 695487 h 733425"/>
                  <a:gd name="connsiteX2" fmla="*/ 216856 w 409575"/>
                  <a:gd name="connsiteY2" fmla="*/ 727158 h 733425"/>
                  <a:gd name="connsiteX3" fmla="*/ 218580 w 409575"/>
                  <a:gd name="connsiteY3" fmla="*/ 727158 h 733425"/>
                  <a:gd name="connsiteX4" fmla="*/ 318202 w 409575"/>
                  <a:gd name="connsiteY4" fmla="*/ 695973 h 733425"/>
                  <a:gd name="connsiteX5" fmla="*/ 403879 w 409575"/>
                  <a:gd name="connsiteY5" fmla="*/ 496329 h 733425"/>
                  <a:gd name="connsiteX6" fmla="*/ 233915 w 409575"/>
                  <a:gd name="connsiteY6" fmla="*/ 288369 h 733425"/>
                  <a:gd name="connsiteX7" fmla="*/ 111690 w 409575"/>
                  <a:gd name="connsiteY7" fmla="*/ 172364 h 733425"/>
                  <a:gd name="connsiteX8" fmla="*/ 179765 w 409575"/>
                  <a:gd name="connsiteY8" fmla="*/ 81486 h 733425"/>
                  <a:gd name="connsiteX9" fmla="*/ 317154 w 409575"/>
                  <a:gd name="connsiteY9" fmla="*/ 225828 h 733425"/>
                  <a:gd name="connsiteX10" fmla="*/ 361359 w 409575"/>
                  <a:gd name="connsiteY10" fmla="*/ 200435 h 733425"/>
                  <a:gd name="connsiteX11" fmla="*/ 328251 w 409575"/>
                  <a:gd name="connsiteY11" fmla="*/ 23746 h 733425"/>
                  <a:gd name="connsiteX12" fmla="*/ 272606 w 409575"/>
                  <a:gd name="connsiteY12" fmla="*/ 23746 h 733425"/>
                  <a:gd name="connsiteX13" fmla="*/ 262433 w 409575"/>
                  <a:gd name="connsiteY13" fmla="*/ 47587 h 733425"/>
                  <a:gd name="connsiteX14" fmla="*/ 258137 w 409575"/>
                  <a:gd name="connsiteY14" fmla="*/ 44453 h 733425"/>
                  <a:gd name="connsiteX15" fmla="*/ 162354 w 409575"/>
                  <a:gd name="connsiteY15" fmla="*/ 7144 h 733425"/>
                  <a:gd name="connsiteX16" fmla="*/ 7144 w 409575"/>
                  <a:gd name="connsiteY16" fmla="*/ 207778 h 733425"/>
                  <a:gd name="connsiteX17" fmla="*/ 177327 w 409575"/>
                  <a:gd name="connsiteY17" fmla="*/ 412737 h 733425"/>
                  <a:gd name="connsiteX18" fmla="*/ 304324 w 409575"/>
                  <a:gd name="connsiteY18" fmla="*/ 536772 h 733425"/>
                  <a:gd name="connsiteX19" fmla="*/ 207693 w 409575"/>
                  <a:gd name="connsiteY19" fmla="*/ 651767 h 733425"/>
                  <a:gd name="connsiteX20" fmla="*/ 206531 w 409575"/>
                  <a:gd name="connsiteY20" fmla="*/ 651767 h 733425"/>
                  <a:gd name="connsiteX21" fmla="*/ 58798 w 409575"/>
                  <a:gd name="connsiteY21" fmla="*/ 463420 h 733425"/>
                  <a:gd name="connsiteX22" fmla="*/ 7468 w 409575"/>
                  <a:gd name="connsiteY22" fmla="*/ 492623 h 733425"/>
                  <a:gd name="connsiteX23" fmla="*/ 50797 w 409575"/>
                  <a:gd name="connsiteY23" fmla="*/ 716166 h 733425"/>
                  <a:gd name="connsiteX24" fmla="*/ 106442 w 409575"/>
                  <a:gd name="connsiteY24" fmla="*/ 716166 h 733425"/>
                  <a:gd name="connsiteX25" fmla="*/ 116777 w 409575"/>
                  <a:gd name="connsiteY25" fmla="*/ 692210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09575" h="733425">
                    <a:moveTo>
                      <a:pt x="116777" y="692210"/>
                    </a:moveTo>
                    <a:lnTo>
                      <a:pt x="120872" y="695487"/>
                    </a:lnTo>
                    <a:cubicBezTo>
                      <a:pt x="145761" y="715404"/>
                      <a:pt x="180699" y="727158"/>
                      <a:pt x="216856" y="727158"/>
                    </a:cubicBezTo>
                    <a:lnTo>
                      <a:pt x="218580" y="727158"/>
                    </a:lnTo>
                    <a:cubicBezTo>
                      <a:pt x="227505" y="727158"/>
                      <a:pt x="274253" y="725691"/>
                      <a:pt x="318202" y="695973"/>
                    </a:cubicBezTo>
                    <a:cubicBezTo>
                      <a:pt x="374952" y="657844"/>
                      <a:pt x="403879" y="590436"/>
                      <a:pt x="403879" y="496329"/>
                    </a:cubicBezTo>
                    <a:cubicBezTo>
                      <a:pt x="403879" y="338795"/>
                      <a:pt x="313515" y="311963"/>
                      <a:pt x="233915" y="288369"/>
                    </a:cubicBezTo>
                    <a:cubicBezTo>
                      <a:pt x="170983" y="269672"/>
                      <a:pt x="111690" y="252070"/>
                      <a:pt x="111690" y="172364"/>
                    </a:cubicBezTo>
                    <a:cubicBezTo>
                      <a:pt x="111690" y="137246"/>
                      <a:pt x="130140" y="81486"/>
                      <a:pt x="179765" y="81486"/>
                    </a:cubicBezTo>
                    <a:cubicBezTo>
                      <a:pt x="242192" y="81486"/>
                      <a:pt x="275301" y="130016"/>
                      <a:pt x="317154" y="225828"/>
                    </a:cubicBezTo>
                    <a:lnTo>
                      <a:pt x="361359" y="200435"/>
                    </a:lnTo>
                    <a:lnTo>
                      <a:pt x="328251" y="23746"/>
                    </a:lnTo>
                    <a:lnTo>
                      <a:pt x="272606" y="23746"/>
                    </a:lnTo>
                    <a:lnTo>
                      <a:pt x="262433" y="47587"/>
                    </a:lnTo>
                    <a:lnTo>
                      <a:pt x="258137" y="44453"/>
                    </a:lnTo>
                    <a:cubicBezTo>
                      <a:pt x="229467" y="21155"/>
                      <a:pt x="193643" y="7144"/>
                      <a:pt x="162354" y="7144"/>
                    </a:cubicBezTo>
                    <a:cubicBezTo>
                      <a:pt x="47930" y="7144"/>
                      <a:pt x="7144" y="110871"/>
                      <a:pt x="7144" y="207778"/>
                    </a:cubicBezTo>
                    <a:cubicBezTo>
                      <a:pt x="7144" y="353501"/>
                      <a:pt x="97565" y="385020"/>
                      <a:pt x="177327" y="412737"/>
                    </a:cubicBezTo>
                    <a:cubicBezTo>
                      <a:pt x="242516" y="435645"/>
                      <a:pt x="304324" y="456971"/>
                      <a:pt x="304324" y="536772"/>
                    </a:cubicBezTo>
                    <a:cubicBezTo>
                      <a:pt x="304324" y="648824"/>
                      <a:pt x="217494" y="651767"/>
                      <a:pt x="207693" y="651767"/>
                    </a:cubicBezTo>
                    <a:lnTo>
                      <a:pt x="206531" y="651767"/>
                    </a:lnTo>
                    <a:cubicBezTo>
                      <a:pt x="145856" y="651767"/>
                      <a:pt x="112300" y="609429"/>
                      <a:pt x="58798" y="463420"/>
                    </a:cubicBezTo>
                    <a:lnTo>
                      <a:pt x="7468" y="492623"/>
                    </a:lnTo>
                    <a:lnTo>
                      <a:pt x="50797" y="716166"/>
                    </a:lnTo>
                    <a:lnTo>
                      <a:pt x="106442" y="716166"/>
                    </a:lnTo>
                    <a:lnTo>
                      <a:pt x="116777" y="69221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ihandform: Form 15">
                <a:extLst>
                  <a:ext uri="{FF2B5EF4-FFF2-40B4-BE49-F238E27FC236}">
                    <a16:creationId xmlns:a16="http://schemas.microsoft.com/office/drawing/2014/main" id="{4DFE46E3-AF5C-462E-8D77-669F51812418}"/>
                  </a:ext>
                </a:extLst>
              </p:cNvPr>
              <p:cNvSpPr/>
              <p:nvPr/>
            </p:nvSpPr>
            <p:spPr>
              <a:xfrm>
                <a:off x="8252079" y="4737208"/>
                <a:ext cx="485775" cy="704850"/>
              </a:xfrm>
              <a:custGeom>
                <a:avLst/>
                <a:gdLst>
                  <a:gd name="connsiteX0" fmla="*/ 235420 w 485775"/>
                  <a:gd name="connsiteY0" fmla="*/ 319345 h 704850"/>
                  <a:gd name="connsiteX1" fmla="*/ 181499 w 485775"/>
                  <a:gd name="connsiteY1" fmla="*/ 319345 h 704850"/>
                  <a:gd name="connsiteX2" fmla="*/ 181499 w 485775"/>
                  <a:gd name="connsiteY2" fmla="*/ 125825 h 704850"/>
                  <a:gd name="connsiteX3" fmla="*/ 240163 w 485775"/>
                  <a:gd name="connsiteY3" fmla="*/ 68685 h 704850"/>
                  <a:gd name="connsiteX4" fmla="*/ 341738 w 485775"/>
                  <a:gd name="connsiteY4" fmla="*/ 193558 h 704850"/>
                  <a:gd name="connsiteX5" fmla="*/ 235420 w 485775"/>
                  <a:gd name="connsiteY5" fmla="*/ 319345 h 704850"/>
                  <a:gd name="connsiteX6" fmla="*/ 339957 w 485775"/>
                  <a:gd name="connsiteY6" fmla="*/ 703774 h 704850"/>
                  <a:gd name="connsiteX7" fmla="*/ 486670 w 485775"/>
                  <a:gd name="connsiteY7" fmla="*/ 703774 h 704850"/>
                  <a:gd name="connsiteX8" fmla="*/ 486670 w 485775"/>
                  <a:gd name="connsiteY8" fmla="*/ 653920 h 704850"/>
                  <a:gd name="connsiteX9" fmla="*/ 428397 w 485775"/>
                  <a:gd name="connsiteY9" fmla="*/ 593017 h 704850"/>
                  <a:gd name="connsiteX10" fmla="*/ 330994 w 485775"/>
                  <a:gd name="connsiteY10" fmla="*/ 375542 h 704850"/>
                  <a:gd name="connsiteX11" fmla="*/ 335489 w 485775"/>
                  <a:gd name="connsiteY11" fmla="*/ 374437 h 704850"/>
                  <a:gd name="connsiteX12" fmla="*/ 453733 w 485775"/>
                  <a:gd name="connsiteY12" fmla="*/ 202863 h 704850"/>
                  <a:gd name="connsiteX13" fmla="*/ 303514 w 485775"/>
                  <a:gd name="connsiteY13" fmla="*/ 7144 h 704850"/>
                  <a:gd name="connsiteX14" fmla="*/ 7144 w 485775"/>
                  <a:gd name="connsiteY14" fmla="*/ 7144 h 704850"/>
                  <a:gd name="connsiteX15" fmla="*/ 7144 w 485775"/>
                  <a:gd name="connsiteY15" fmla="*/ 57026 h 704850"/>
                  <a:gd name="connsiteX16" fmla="*/ 65684 w 485775"/>
                  <a:gd name="connsiteY16" fmla="*/ 119396 h 704850"/>
                  <a:gd name="connsiteX17" fmla="*/ 65684 w 485775"/>
                  <a:gd name="connsiteY17" fmla="*/ 591798 h 704850"/>
                  <a:gd name="connsiteX18" fmla="*/ 7144 w 485775"/>
                  <a:gd name="connsiteY18" fmla="*/ 654196 h 704850"/>
                  <a:gd name="connsiteX19" fmla="*/ 7144 w 485775"/>
                  <a:gd name="connsiteY19" fmla="*/ 703764 h 704850"/>
                  <a:gd name="connsiteX20" fmla="*/ 240154 w 485775"/>
                  <a:gd name="connsiteY20" fmla="*/ 703764 h 704850"/>
                  <a:gd name="connsiteX21" fmla="*/ 240154 w 485775"/>
                  <a:gd name="connsiteY21" fmla="*/ 654206 h 704850"/>
                  <a:gd name="connsiteX22" fmla="*/ 181490 w 485775"/>
                  <a:gd name="connsiteY22" fmla="*/ 591807 h 704850"/>
                  <a:gd name="connsiteX23" fmla="*/ 181490 w 485775"/>
                  <a:gd name="connsiteY23" fmla="*/ 396364 h 704850"/>
                  <a:gd name="connsiteX24" fmla="*/ 204235 w 485775"/>
                  <a:gd name="connsiteY24" fmla="*/ 396364 h 704850"/>
                  <a:gd name="connsiteX25" fmla="*/ 339957 w 485775"/>
                  <a:gd name="connsiteY25" fmla="*/ 703774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85775" h="704850">
                    <a:moveTo>
                      <a:pt x="235420" y="319345"/>
                    </a:moveTo>
                    <a:lnTo>
                      <a:pt x="181499" y="319345"/>
                    </a:lnTo>
                    <a:lnTo>
                      <a:pt x="181499" y="125825"/>
                    </a:lnTo>
                    <a:cubicBezTo>
                      <a:pt x="181499" y="92612"/>
                      <a:pt x="206216" y="68685"/>
                      <a:pt x="240163" y="68685"/>
                    </a:cubicBezTo>
                    <a:cubicBezTo>
                      <a:pt x="324060" y="68685"/>
                      <a:pt x="341738" y="136531"/>
                      <a:pt x="341738" y="193558"/>
                    </a:cubicBezTo>
                    <a:cubicBezTo>
                      <a:pt x="341738" y="250955"/>
                      <a:pt x="323231" y="319345"/>
                      <a:pt x="235420" y="319345"/>
                    </a:cubicBezTo>
                    <a:moveTo>
                      <a:pt x="339957" y="703774"/>
                    </a:moveTo>
                    <a:lnTo>
                      <a:pt x="486670" y="703774"/>
                    </a:lnTo>
                    <a:lnTo>
                      <a:pt x="486670" y="653920"/>
                    </a:lnTo>
                    <a:cubicBezTo>
                      <a:pt x="449523" y="650386"/>
                      <a:pt x="429320" y="595503"/>
                      <a:pt x="428397" y="593017"/>
                    </a:cubicBezTo>
                    <a:lnTo>
                      <a:pt x="330994" y="375542"/>
                    </a:lnTo>
                    <a:lnTo>
                      <a:pt x="335489" y="374437"/>
                    </a:lnTo>
                    <a:cubicBezTo>
                      <a:pt x="379648" y="362464"/>
                      <a:pt x="453733" y="324193"/>
                      <a:pt x="453733" y="202863"/>
                    </a:cubicBezTo>
                    <a:cubicBezTo>
                      <a:pt x="453733" y="40929"/>
                      <a:pt x="371933" y="7144"/>
                      <a:pt x="303514" y="7144"/>
                    </a:cubicBezTo>
                    <a:lnTo>
                      <a:pt x="7144" y="7144"/>
                    </a:lnTo>
                    <a:lnTo>
                      <a:pt x="7144" y="57026"/>
                    </a:lnTo>
                    <a:cubicBezTo>
                      <a:pt x="39777" y="59007"/>
                      <a:pt x="65684" y="86230"/>
                      <a:pt x="65684" y="119396"/>
                    </a:cubicBezTo>
                    <a:lnTo>
                      <a:pt x="65684" y="591798"/>
                    </a:lnTo>
                    <a:cubicBezTo>
                      <a:pt x="65684" y="624992"/>
                      <a:pt x="39777" y="651967"/>
                      <a:pt x="7144" y="654196"/>
                    </a:cubicBezTo>
                    <a:lnTo>
                      <a:pt x="7144" y="703764"/>
                    </a:lnTo>
                    <a:lnTo>
                      <a:pt x="240154" y="703764"/>
                    </a:lnTo>
                    <a:lnTo>
                      <a:pt x="240154" y="654206"/>
                    </a:lnTo>
                    <a:cubicBezTo>
                      <a:pt x="207702" y="651977"/>
                      <a:pt x="181490" y="625002"/>
                      <a:pt x="181490" y="591807"/>
                    </a:cubicBezTo>
                    <a:lnTo>
                      <a:pt x="181490" y="396364"/>
                    </a:lnTo>
                    <a:lnTo>
                      <a:pt x="204235" y="396364"/>
                    </a:lnTo>
                    <a:lnTo>
                      <a:pt x="339957" y="703774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ihandform: Form 16">
                <a:extLst>
                  <a:ext uri="{FF2B5EF4-FFF2-40B4-BE49-F238E27FC236}">
                    <a16:creationId xmlns:a16="http://schemas.microsoft.com/office/drawing/2014/main" id="{5A7410F2-3A38-4100-8F3C-A11C0E483894}"/>
                  </a:ext>
                </a:extLst>
              </p:cNvPr>
              <p:cNvSpPr/>
              <p:nvPr/>
            </p:nvSpPr>
            <p:spPr>
              <a:xfrm>
                <a:off x="5433831" y="4725111"/>
                <a:ext cx="409575" cy="733425"/>
              </a:xfrm>
              <a:custGeom>
                <a:avLst/>
                <a:gdLst>
                  <a:gd name="connsiteX0" fmla="*/ 116824 w 409575"/>
                  <a:gd name="connsiteY0" fmla="*/ 692210 h 733425"/>
                  <a:gd name="connsiteX1" fmla="*/ 120920 w 409575"/>
                  <a:gd name="connsiteY1" fmla="*/ 695487 h 733425"/>
                  <a:gd name="connsiteX2" fmla="*/ 216846 w 409575"/>
                  <a:gd name="connsiteY2" fmla="*/ 727158 h 733425"/>
                  <a:gd name="connsiteX3" fmla="*/ 218627 w 409575"/>
                  <a:gd name="connsiteY3" fmla="*/ 727158 h 733425"/>
                  <a:gd name="connsiteX4" fmla="*/ 403755 w 409575"/>
                  <a:gd name="connsiteY4" fmla="*/ 496329 h 733425"/>
                  <a:gd name="connsiteX5" fmla="*/ 233963 w 409575"/>
                  <a:gd name="connsiteY5" fmla="*/ 288369 h 733425"/>
                  <a:gd name="connsiteX6" fmla="*/ 111681 w 409575"/>
                  <a:gd name="connsiteY6" fmla="*/ 172364 h 733425"/>
                  <a:gd name="connsiteX7" fmla="*/ 179813 w 409575"/>
                  <a:gd name="connsiteY7" fmla="*/ 81486 h 733425"/>
                  <a:gd name="connsiteX8" fmla="*/ 317145 w 409575"/>
                  <a:gd name="connsiteY8" fmla="*/ 225828 h 733425"/>
                  <a:gd name="connsiteX9" fmla="*/ 361350 w 409575"/>
                  <a:gd name="connsiteY9" fmla="*/ 200435 h 733425"/>
                  <a:gd name="connsiteX10" fmla="*/ 328241 w 409575"/>
                  <a:gd name="connsiteY10" fmla="*/ 23746 h 733425"/>
                  <a:gd name="connsiteX11" fmla="*/ 272596 w 409575"/>
                  <a:gd name="connsiteY11" fmla="*/ 23746 h 733425"/>
                  <a:gd name="connsiteX12" fmla="*/ 262433 w 409575"/>
                  <a:gd name="connsiteY12" fmla="*/ 47587 h 733425"/>
                  <a:gd name="connsiteX13" fmla="*/ 258251 w 409575"/>
                  <a:gd name="connsiteY13" fmla="*/ 44453 h 733425"/>
                  <a:gd name="connsiteX14" fmla="*/ 162354 w 409575"/>
                  <a:gd name="connsiteY14" fmla="*/ 7144 h 733425"/>
                  <a:gd name="connsiteX15" fmla="*/ 7144 w 409575"/>
                  <a:gd name="connsiteY15" fmla="*/ 207778 h 733425"/>
                  <a:gd name="connsiteX16" fmla="*/ 177327 w 409575"/>
                  <a:gd name="connsiteY16" fmla="*/ 412737 h 733425"/>
                  <a:gd name="connsiteX17" fmla="*/ 304324 w 409575"/>
                  <a:gd name="connsiteY17" fmla="*/ 536772 h 733425"/>
                  <a:gd name="connsiteX18" fmla="*/ 207750 w 409575"/>
                  <a:gd name="connsiteY18" fmla="*/ 651767 h 733425"/>
                  <a:gd name="connsiteX19" fmla="*/ 206540 w 409575"/>
                  <a:gd name="connsiteY19" fmla="*/ 651767 h 733425"/>
                  <a:gd name="connsiteX20" fmla="*/ 58865 w 409575"/>
                  <a:gd name="connsiteY20" fmla="*/ 463420 h 733425"/>
                  <a:gd name="connsiteX21" fmla="*/ 7544 w 409575"/>
                  <a:gd name="connsiteY21" fmla="*/ 492623 h 733425"/>
                  <a:gd name="connsiteX22" fmla="*/ 50930 w 409575"/>
                  <a:gd name="connsiteY22" fmla="*/ 716166 h 733425"/>
                  <a:gd name="connsiteX23" fmla="*/ 106461 w 409575"/>
                  <a:gd name="connsiteY23" fmla="*/ 716166 h 733425"/>
                  <a:gd name="connsiteX24" fmla="*/ 116824 w 409575"/>
                  <a:gd name="connsiteY24" fmla="*/ 692210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09575" h="733425">
                    <a:moveTo>
                      <a:pt x="116824" y="692210"/>
                    </a:moveTo>
                    <a:lnTo>
                      <a:pt x="120920" y="695487"/>
                    </a:lnTo>
                    <a:cubicBezTo>
                      <a:pt x="145866" y="715404"/>
                      <a:pt x="180804" y="727158"/>
                      <a:pt x="216846" y="727158"/>
                    </a:cubicBezTo>
                    <a:lnTo>
                      <a:pt x="218627" y="727158"/>
                    </a:lnTo>
                    <a:cubicBezTo>
                      <a:pt x="237554" y="727158"/>
                      <a:pt x="403755" y="720662"/>
                      <a:pt x="403755" y="496329"/>
                    </a:cubicBezTo>
                    <a:cubicBezTo>
                      <a:pt x="403755" y="338795"/>
                      <a:pt x="313563" y="311963"/>
                      <a:pt x="233963" y="288369"/>
                    </a:cubicBezTo>
                    <a:cubicBezTo>
                      <a:pt x="171079" y="269672"/>
                      <a:pt x="111681" y="252070"/>
                      <a:pt x="111681" y="172364"/>
                    </a:cubicBezTo>
                    <a:cubicBezTo>
                      <a:pt x="111681" y="137246"/>
                      <a:pt x="130131" y="81486"/>
                      <a:pt x="179813" y="81486"/>
                    </a:cubicBezTo>
                    <a:cubicBezTo>
                      <a:pt x="242183" y="81486"/>
                      <a:pt x="275397" y="130016"/>
                      <a:pt x="317145" y="225828"/>
                    </a:cubicBezTo>
                    <a:lnTo>
                      <a:pt x="361350" y="200435"/>
                    </a:lnTo>
                    <a:lnTo>
                      <a:pt x="328241" y="23746"/>
                    </a:lnTo>
                    <a:lnTo>
                      <a:pt x="272596" y="23746"/>
                    </a:lnTo>
                    <a:lnTo>
                      <a:pt x="262433" y="47587"/>
                    </a:lnTo>
                    <a:lnTo>
                      <a:pt x="258251" y="44453"/>
                    </a:lnTo>
                    <a:cubicBezTo>
                      <a:pt x="229496" y="21155"/>
                      <a:pt x="193596" y="7144"/>
                      <a:pt x="162354" y="7144"/>
                    </a:cubicBezTo>
                    <a:cubicBezTo>
                      <a:pt x="47987" y="7144"/>
                      <a:pt x="7144" y="110871"/>
                      <a:pt x="7144" y="207778"/>
                    </a:cubicBezTo>
                    <a:cubicBezTo>
                      <a:pt x="7144" y="353501"/>
                      <a:pt x="97622" y="385020"/>
                      <a:pt x="177327" y="412737"/>
                    </a:cubicBezTo>
                    <a:cubicBezTo>
                      <a:pt x="242688" y="435645"/>
                      <a:pt x="304324" y="456971"/>
                      <a:pt x="304324" y="536772"/>
                    </a:cubicBezTo>
                    <a:cubicBezTo>
                      <a:pt x="304324" y="648824"/>
                      <a:pt x="217608" y="651767"/>
                      <a:pt x="207750" y="651767"/>
                    </a:cubicBezTo>
                    <a:lnTo>
                      <a:pt x="206540" y="651767"/>
                    </a:lnTo>
                    <a:cubicBezTo>
                      <a:pt x="145866" y="651767"/>
                      <a:pt x="112424" y="609429"/>
                      <a:pt x="58865" y="463420"/>
                    </a:cubicBezTo>
                    <a:lnTo>
                      <a:pt x="7544" y="492623"/>
                    </a:lnTo>
                    <a:lnTo>
                      <a:pt x="50930" y="716166"/>
                    </a:lnTo>
                    <a:lnTo>
                      <a:pt x="106461" y="716166"/>
                    </a:lnTo>
                    <a:lnTo>
                      <a:pt x="116824" y="69221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ihandform: Form 17">
                <a:extLst>
                  <a:ext uri="{FF2B5EF4-FFF2-40B4-BE49-F238E27FC236}">
                    <a16:creationId xmlns:a16="http://schemas.microsoft.com/office/drawing/2014/main" id="{C82DDAE8-307D-43BB-B34E-1F355DA7B8E6}"/>
                  </a:ext>
                </a:extLst>
              </p:cNvPr>
              <p:cNvSpPr/>
              <p:nvPr/>
            </p:nvSpPr>
            <p:spPr>
              <a:xfrm>
                <a:off x="7733233" y="4737065"/>
                <a:ext cx="476250" cy="704850"/>
              </a:xfrm>
              <a:custGeom>
                <a:avLst/>
                <a:gdLst>
                  <a:gd name="connsiteX0" fmla="*/ 123940 w 476250"/>
                  <a:gd name="connsiteY0" fmla="*/ 704202 h 704850"/>
                  <a:gd name="connsiteX1" fmla="*/ 360255 w 476250"/>
                  <a:gd name="connsiteY1" fmla="*/ 704202 h 704850"/>
                  <a:gd name="connsiteX2" fmla="*/ 360255 w 476250"/>
                  <a:gd name="connsiteY2" fmla="*/ 653806 h 704850"/>
                  <a:gd name="connsiteX3" fmla="*/ 300685 w 476250"/>
                  <a:gd name="connsiteY3" fmla="*/ 590674 h 704850"/>
                  <a:gd name="connsiteX4" fmla="*/ 300685 w 476250"/>
                  <a:gd name="connsiteY4" fmla="*/ 84039 h 704850"/>
                  <a:gd name="connsiteX5" fmla="*/ 306867 w 476250"/>
                  <a:gd name="connsiteY5" fmla="*/ 83925 h 704850"/>
                  <a:gd name="connsiteX6" fmla="*/ 310620 w 476250"/>
                  <a:gd name="connsiteY6" fmla="*/ 83753 h 704850"/>
                  <a:gd name="connsiteX7" fmla="*/ 422138 w 476250"/>
                  <a:gd name="connsiteY7" fmla="*/ 223971 h 704850"/>
                  <a:gd name="connsiteX8" fmla="*/ 477060 w 476250"/>
                  <a:gd name="connsiteY8" fmla="*/ 196768 h 704850"/>
                  <a:gd name="connsiteX9" fmla="*/ 430139 w 476250"/>
                  <a:gd name="connsiteY9" fmla="*/ 7144 h 704850"/>
                  <a:gd name="connsiteX10" fmla="*/ 53950 w 476250"/>
                  <a:gd name="connsiteY10" fmla="*/ 7144 h 704850"/>
                  <a:gd name="connsiteX11" fmla="*/ 7144 w 476250"/>
                  <a:gd name="connsiteY11" fmla="*/ 196653 h 704850"/>
                  <a:gd name="connsiteX12" fmla="*/ 62112 w 476250"/>
                  <a:gd name="connsiteY12" fmla="*/ 223971 h 704850"/>
                  <a:gd name="connsiteX13" fmla="*/ 173622 w 476250"/>
                  <a:gd name="connsiteY13" fmla="*/ 83753 h 704850"/>
                  <a:gd name="connsiteX14" fmla="*/ 177641 w 476250"/>
                  <a:gd name="connsiteY14" fmla="*/ 83925 h 704850"/>
                  <a:gd name="connsiteX15" fmla="*/ 183347 w 476250"/>
                  <a:gd name="connsiteY15" fmla="*/ 84039 h 704850"/>
                  <a:gd name="connsiteX16" fmla="*/ 183347 w 476250"/>
                  <a:gd name="connsiteY16" fmla="*/ 590674 h 704850"/>
                  <a:gd name="connsiteX17" fmla="*/ 123949 w 476250"/>
                  <a:gd name="connsiteY17" fmla="*/ 653806 h 704850"/>
                  <a:gd name="connsiteX18" fmla="*/ 123949 w 476250"/>
                  <a:gd name="connsiteY18" fmla="*/ 704202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6250" h="704850">
                    <a:moveTo>
                      <a:pt x="123940" y="704202"/>
                    </a:moveTo>
                    <a:lnTo>
                      <a:pt x="360255" y="704202"/>
                    </a:lnTo>
                    <a:lnTo>
                      <a:pt x="360255" y="653806"/>
                    </a:lnTo>
                    <a:cubicBezTo>
                      <a:pt x="327117" y="651605"/>
                      <a:pt x="300685" y="624116"/>
                      <a:pt x="300685" y="590674"/>
                    </a:cubicBezTo>
                    <a:lnTo>
                      <a:pt x="300685" y="84039"/>
                    </a:lnTo>
                    <a:lnTo>
                      <a:pt x="306867" y="83925"/>
                    </a:lnTo>
                    <a:cubicBezTo>
                      <a:pt x="307905" y="83925"/>
                      <a:pt x="309124" y="83753"/>
                      <a:pt x="310620" y="83753"/>
                    </a:cubicBezTo>
                    <a:cubicBezTo>
                      <a:pt x="347339" y="83753"/>
                      <a:pt x="383762" y="129683"/>
                      <a:pt x="422138" y="223971"/>
                    </a:cubicBezTo>
                    <a:lnTo>
                      <a:pt x="477060" y="196768"/>
                    </a:lnTo>
                    <a:lnTo>
                      <a:pt x="430139" y="7144"/>
                    </a:lnTo>
                    <a:lnTo>
                      <a:pt x="53950" y="7144"/>
                    </a:lnTo>
                    <a:lnTo>
                      <a:pt x="7144" y="196653"/>
                    </a:lnTo>
                    <a:lnTo>
                      <a:pt x="62112" y="223971"/>
                    </a:lnTo>
                    <a:cubicBezTo>
                      <a:pt x="100269" y="129683"/>
                      <a:pt x="136731" y="83753"/>
                      <a:pt x="173622" y="83753"/>
                    </a:cubicBezTo>
                    <a:cubicBezTo>
                      <a:pt x="175117" y="83753"/>
                      <a:pt x="176336" y="83925"/>
                      <a:pt x="177641" y="83925"/>
                    </a:cubicBezTo>
                    <a:lnTo>
                      <a:pt x="183347" y="84039"/>
                    </a:lnTo>
                    <a:lnTo>
                      <a:pt x="183347" y="590674"/>
                    </a:lnTo>
                    <a:cubicBezTo>
                      <a:pt x="183347" y="624116"/>
                      <a:pt x="157163" y="651605"/>
                      <a:pt x="123949" y="653806"/>
                    </a:cubicBezTo>
                    <a:lnTo>
                      <a:pt x="123949" y="70420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ihandform: Form 18">
                <a:extLst>
                  <a:ext uri="{FF2B5EF4-FFF2-40B4-BE49-F238E27FC236}">
                    <a16:creationId xmlns:a16="http://schemas.microsoft.com/office/drawing/2014/main" id="{A36C8B70-E45A-4697-AFA4-D7540A60C885}"/>
                  </a:ext>
                </a:extLst>
              </p:cNvPr>
              <p:cNvSpPr/>
              <p:nvPr/>
            </p:nvSpPr>
            <p:spPr>
              <a:xfrm>
                <a:off x="6743662" y="4737256"/>
                <a:ext cx="504825" cy="714375"/>
              </a:xfrm>
              <a:custGeom>
                <a:avLst/>
                <a:gdLst>
                  <a:gd name="connsiteX0" fmla="*/ 7144 w 504825"/>
                  <a:gd name="connsiteY0" fmla="*/ 56769 h 714375"/>
                  <a:gd name="connsiteX1" fmla="*/ 66485 w 504825"/>
                  <a:gd name="connsiteY1" fmla="*/ 119253 h 714375"/>
                  <a:gd name="connsiteX2" fmla="*/ 66485 w 504825"/>
                  <a:gd name="connsiteY2" fmla="*/ 446808 h 714375"/>
                  <a:gd name="connsiteX3" fmla="*/ 117700 w 504825"/>
                  <a:gd name="connsiteY3" fmla="*/ 658597 h 714375"/>
                  <a:gd name="connsiteX4" fmla="*/ 261166 w 504825"/>
                  <a:gd name="connsiteY4" fmla="*/ 715289 h 714375"/>
                  <a:gd name="connsiteX5" fmla="*/ 413137 w 504825"/>
                  <a:gd name="connsiteY5" fmla="*/ 646166 h 714375"/>
                  <a:gd name="connsiteX6" fmla="*/ 446275 w 504825"/>
                  <a:gd name="connsiteY6" fmla="*/ 463010 h 714375"/>
                  <a:gd name="connsiteX7" fmla="*/ 445818 w 504825"/>
                  <a:gd name="connsiteY7" fmla="*/ 424815 h 714375"/>
                  <a:gd name="connsiteX8" fmla="*/ 445818 w 504825"/>
                  <a:gd name="connsiteY8" fmla="*/ 165068 h 714375"/>
                  <a:gd name="connsiteX9" fmla="*/ 503015 w 504825"/>
                  <a:gd name="connsiteY9" fmla="*/ 57140 h 714375"/>
                  <a:gd name="connsiteX10" fmla="*/ 503015 w 504825"/>
                  <a:gd name="connsiteY10" fmla="*/ 7144 h 714375"/>
                  <a:gd name="connsiteX11" fmla="*/ 312353 w 504825"/>
                  <a:gd name="connsiteY11" fmla="*/ 7144 h 714375"/>
                  <a:gd name="connsiteX12" fmla="*/ 312353 w 504825"/>
                  <a:gd name="connsiteY12" fmla="*/ 56769 h 714375"/>
                  <a:gd name="connsiteX13" fmla="*/ 313849 w 504825"/>
                  <a:gd name="connsiteY13" fmla="*/ 56769 h 714375"/>
                  <a:gd name="connsiteX14" fmla="*/ 367484 w 504825"/>
                  <a:gd name="connsiteY14" fmla="*/ 85239 h 714375"/>
                  <a:gd name="connsiteX15" fmla="*/ 375990 w 504825"/>
                  <a:gd name="connsiteY15" fmla="*/ 157553 h 714375"/>
                  <a:gd name="connsiteX16" fmla="*/ 375990 w 504825"/>
                  <a:gd name="connsiteY16" fmla="*/ 163906 h 714375"/>
                  <a:gd name="connsiteX17" fmla="*/ 375990 w 504825"/>
                  <a:gd name="connsiteY17" fmla="*/ 460524 h 714375"/>
                  <a:gd name="connsiteX18" fmla="*/ 352520 w 504825"/>
                  <a:gd name="connsiteY18" fmla="*/ 596675 h 714375"/>
                  <a:gd name="connsiteX19" fmla="*/ 274644 w 504825"/>
                  <a:gd name="connsiteY19" fmla="*/ 641642 h 714375"/>
                  <a:gd name="connsiteX20" fmla="*/ 194272 w 504825"/>
                  <a:gd name="connsiteY20" fmla="*/ 605714 h 714375"/>
                  <a:gd name="connsiteX21" fmla="*/ 181337 w 504825"/>
                  <a:gd name="connsiteY21" fmla="*/ 512645 h 714375"/>
                  <a:gd name="connsiteX22" fmla="*/ 181851 w 504825"/>
                  <a:gd name="connsiteY22" fmla="*/ 451999 h 714375"/>
                  <a:gd name="connsiteX23" fmla="*/ 181851 w 504825"/>
                  <a:gd name="connsiteY23" fmla="*/ 119253 h 714375"/>
                  <a:gd name="connsiteX24" fmla="*/ 240516 w 504825"/>
                  <a:gd name="connsiteY24" fmla="*/ 56769 h 714375"/>
                  <a:gd name="connsiteX25" fmla="*/ 240516 w 504825"/>
                  <a:gd name="connsiteY25" fmla="*/ 7144 h 714375"/>
                  <a:gd name="connsiteX26" fmla="*/ 7144 w 504825"/>
                  <a:gd name="connsiteY26" fmla="*/ 7144 h 714375"/>
                  <a:gd name="connsiteX27" fmla="*/ 7144 w 504825"/>
                  <a:gd name="connsiteY27" fmla="*/ 56769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04825" h="714375">
                    <a:moveTo>
                      <a:pt x="7144" y="56769"/>
                    </a:moveTo>
                    <a:cubicBezTo>
                      <a:pt x="40110" y="58969"/>
                      <a:pt x="66485" y="86058"/>
                      <a:pt x="66485" y="119253"/>
                    </a:cubicBezTo>
                    <a:lnTo>
                      <a:pt x="66485" y="446808"/>
                    </a:lnTo>
                    <a:cubicBezTo>
                      <a:pt x="64875" y="536600"/>
                      <a:pt x="67761" y="604228"/>
                      <a:pt x="117700" y="658597"/>
                    </a:cubicBezTo>
                    <a:cubicBezTo>
                      <a:pt x="160915" y="705517"/>
                      <a:pt x="219503" y="715289"/>
                      <a:pt x="261166" y="715289"/>
                    </a:cubicBezTo>
                    <a:cubicBezTo>
                      <a:pt x="327346" y="715289"/>
                      <a:pt x="378705" y="692039"/>
                      <a:pt x="413137" y="646166"/>
                    </a:cubicBezTo>
                    <a:cubicBezTo>
                      <a:pt x="449056" y="597494"/>
                      <a:pt x="447532" y="529114"/>
                      <a:pt x="446275" y="463010"/>
                    </a:cubicBezTo>
                    <a:cubicBezTo>
                      <a:pt x="446046" y="450275"/>
                      <a:pt x="445818" y="437302"/>
                      <a:pt x="445818" y="424815"/>
                    </a:cubicBezTo>
                    <a:lnTo>
                      <a:pt x="445818" y="165068"/>
                    </a:lnTo>
                    <a:cubicBezTo>
                      <a:pt x="445818" y="93459"/>
                      <a:pt x="445818" y="65865"/>
                      <a:pt x="503015" y="57140"/>
                    </a:cubicBezTo>
                    <a:lnTo>
                      <a:pt x="503015" y="7144"/>
                    </a:lnTo>
                    <a:lnTo>
                      <a:pt x="312353" y="7144"/>
                    </a:lnTo>
                    <a:lnTo>
                      <a:pt x="312353" y="56769"/>
                    </a:lnTo>
                    <a:lnTo>
                      <a:pt x="313849" y="56769"/>
                    </a:lnTo>
                    <a:cubicBezTo>
                      <a:pt x="330289" y="59198"/>
                      <a:pt x="357997" y="66094"/>
                      <a:pt x="367484" y="85239"/>
                    </a:cubicBezTo>
                    <a:cubicBezTo>
                      <a:pt x="376218" y="102413"/>
                      <a:pt x="375990" y="135741"/>
                      <a:pt x="375990" y="157553"/>
                    </a:cubicBezTo>
                    <a:lnTo>
                      <a:pt x="375990" y="163906"/>
                    </a:lnTo>
                    <a:lnTo>
                      <a:pt x="375990" y="460524"/>
                    </a:lnTo>
                    <a:cubicBezTo>
                      <a:pt x="375990" y="505406"/>
                      <a:pt x="375990" y="561061"/>
                      <a:pt x="352520" y="596675"/>
                    </a:cubicBezTo>
                    <a:cubicBezTo>
                      <a:pt x="333365" y="626135"/>
                      <a:pt x="306334" y="641642"/>
                      <a:pt x="274644" y="641642"/>
                    </a:cubicBezTo>
                    <a:cubicBezTo>
                      <a:pt x="224247" y="641642"/>
                      <a:pt x="200073" y="618144"/>
                      <a:pt x="194272" y="605714"/>
                    </a:cubicBezTo>
                    <a:cubicBezTo>
                      <a:pt x="180575" y="576786"/>
                      <a:pt x="180575" y="569500"/>
                      <a:pt x="181337" y="512645"/>
                    </a:cubicBezTo>
                    <a:cubicBezTo>
                      <a:pt x="181566" y="496910"/>
                      <a:pt x="181851" y="476993"/>
                      <a:pt x="181851" y="451999"/>
                    </a:cubicBezTo>
                    <a:lnTo>
                      <a:pt x="181851" y="119253"/>
                    </a:lnTo>
                    <a:cubicBezTo>
                      <a:pt x="181851" y="86068"/>
                      <a:pt x="207759" y="58969"/>
                      <a:pt x="240516" y="56769"/>
                    </a:cubicBezTo>
                    <a:lnTo>
                      <a:pt x="240516" y="7144"/>
                    </a:lnTo>
                    <a:lnTo>
                      <a:pt x="7144" y="7144"/>
                    </a:lnTo>
                    <a:lnTo>
                      <a:pt x="7144" y="5676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ihandform: Form 19">
                <a:extLst>
                  <a:ext uri="{FF2B5EF4-FFF2-40B4-BE49-F238E27FC236}">
                    <a16:creationId xmlns:a16="http://schemas.microsoft.com/office/drawing/2014/main" id="{EDBF84C4-1FA0-4536-981F-264289AA614D}"/>
                  </a:ext>
                </a:extLst>
              </p:cNvPr>
              <p:cNvSpPr/>
              <p:nvPr/>
            </p:nvSpPr>
            <p:spPr>
              <a:xfrm>
                <a:off x="6214453" y="4736341"/>
                <a:ext cx="533400" cy="704850"/>
              </a:xfrm>
              <a:custGeom>
                <a:avLst/>
                <a:gdLst>
                  <a:gd name="connsiteX0" fmla="*/ 311305 w 533400"/>
                  <a:gd name="connsiteY0" fmla="*/ 398507 h 704850"/>
                  <a:gd name="connsiteX1" fmla="*/ 207778 w 533400"/>
                  <a:gd name="connsiteY1" fmla="*/ 398507 h 704850"/>
                  <a:gd name="connsiteX2" fmla="*/ 259413 w 533400"/>
                  <a:gd name="connsiteY2" fmla="*/ 199901 h 704850"/>
                  <a:gd name="connsiteX3" fmla="*/ 311305 w 533400"/>
                  <a:gd name="connsiteY3" fmla="*/ 398507 h 704850"/>
                  <a:gd name="connsiteX4" fmla="*/ 304838 w 533400"/>
                  <a:gd name="connsiteY4" fmla="*/ 703974 h 704850"/>
                  <a:gd name="connsiteX5" fmla="*/ 527685 w 533400"/>
                  <a:gd name="connsiteY5" fmla="*/ 703974 h 704850"/>
                  <a:gd name="connsiteX6" fmla="*/ 527685 w 533400"/>
                  <a:gd name="connsiteY6" fmla="*/ 652815 h 704850"/>
                  <a:gd name="connsiteX7" fmla="*/ 492795 w 533400"/>
                  <a:gd name="connsiteY7" fmla="*/ 609876 h 704850"/>
                  <a:gd name="connsiteX8" fmla="*/ 333061 w 533400"/>
                  <a:gd name="connsiteY8" fmla="*/ 7144 h 704850"/>
                  <a:gd name="connsiteX9" fmla="*/ 220046 w 533400"/>
                  <a:gd name="connsiteY9" fmla="*/ 7144 h 704850"/>
                  <a:gd name="connsiteX10" fmla="*/ 65503 w 533400"/>
                  <a:gd name="connsiteY10" fmla="*/ 592703 h 704850"/>
                  <a:gd name="connsiteX11" fmla="*/ 7144 w 533400"/>
                  <a:gd name="connsiteY11" fmla="*/ 654253 h 704850"/>
                  <a:gd name="connsiteX12" fmla="*/ 7144 w 533400"/>
                  <a:gd name="connsiteY12" fmla="*/ 703974 h 704850"/>
                  <a:gd name="connsiteX13" fmla="*/ 214027 w 533400"/>
                  <a:gd name="connsiteY13" fmla="*/ 703974 h 704850"/>
                  <a:gd name="connsiteX14" fmla="*/ 214027 w 533400"/>
                  <a:gd name="connsiteY14" fmla="*/ 654253 h 704850"/>
                  <a:gd name="connsiteX15" fmla="*/ 166573 w 533400"/>
                  <a:gd name="connsiteY15" fmla="*/ 629793 h 704850"/>
                  <a:gd name="connsiteX16" fmla="*/ 155648 w 533400"/>
                  <a:gd name="connsiteY16" fmla="*/ 591150 h 704850"/>
                  <a:gd name="connsiteX17" fmla="*/ 190767 w 533400"/>
                  <a:gd name="connsiteY17" fmla="*/ 464182 h 704850"/>
                  <a:gd name="connsiteX18" fmla="*/ 328289 w 533400"/>
                  <a:gd name="connsiteY18" fmla="*/ 464182 h 704850"/>
                  <a:gd name="connsiteX19" fmla="*/ 363236 w 533400"/>
                  <a:gd name="connsiteY19" fmla="*/ 590702 h 704850"/>
                  <a:gd name="connsiteX20" fmla="*/ 352530 w 533400"/>
                  <a:gd name="connsiteY20" fmla="*/ 629793 h 704850"/>
                  <a:gd name="connsiteX21" fmla="*/ 304848 w 533400"/>
                  <a:gd name="connsiteY21" fmla="*/ 654253 h 704850"/>
                  <a:gd name="connsiteX22" fmla="*/ 304848 w 533400"/>
                  <a:gd name="connsiteY22" fmla="*/ 703974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33400" h="704850">
                    <a:moveTo>
                      <a:pt x="311305" y="398507"/>
                    </a:moveTo>
                    <a:lnTo>
                      <a:pt x="207778" y="398507"/>
                    </a:lnTo>
                    <a:lnTo>
                      <a:pt x="259413" y="199901"/>
                    </a:lnTo>
                    <a:lnTo>
                      <a:pt x="311305" y="398507"/>
                    </a:lnTo>
                    <a:close/>
                    <a:moveTo>
                      <a:pt x="304838" y="703974"/>
                    </a:moveTo>
                    <a:lnTo>
                      <a:pt x="527685" y="703974"/>
                    </a:lnTo>
                    <a:lnTo>
                      <a:pt x="527685" y="652815"/>
                    </a:lnTo>
                    <a:cubicBezTo>
                      <a:pt x="510445" y="644080"/>
                      <a:pt x="497939" y="628583"/>
                      <a:pt x="492795" y="609876"/>
                    </a:cubicBezTo>
                    <a:lnTo>
                      <a:pt x="333061" y="7144"/>
                    </a:lnTo>
                    <a:lnTo>
                      <a:pt x="220046" y="7144"/>
                    </a:lnTo>
                    <a:lnTo>
                      <a:pt x="65503" y="592703"/>
                    </a:lnTo>
                    <a:cubicBezTo>
                      <a:pt x="61522" y="606885"/>
                      <a:pt x="46320" y="651539"/>
                      <a:pt x="7144" y="654253"/>
                    </a:cubicBezTo>
                    <a:lnTo>
                      <a:pt x="7144" y="703974"/>
                    </a:lnTo>
                    <a:lnTo>
                      <a:pt x="214027" y="703974"/>
                    </a:lnTo>
                    <a:lnTo>
                      <a:pt x="214027" y="654253"/>
                    </a:lnTo>
                    <a:cubicBezTo>
                      <a:pt x="196091" y="653044"/>
                      <a:pt x="178098" y="643804"/>
                      <a:pt x="166573" y="629793"/>
                    </a:cubicBezTo>
                    <a:cubicBezTo>
                      <a:pt x="156858" y="618096"/>
                      <a:pt x="153105" y="604399"/>
                      <a:pt x="155648" y="591150"/>
                    </a:cubicBezTo>
                    <a:lnTo>
                      <a:pt x="190767" y="464182"/>
                    </a:lnTo>
                    <a:lnTo>
                      <a:pt x="328289" y="464182"/>
                    </a:lnTo>
                    <a:lnTo>
                      <a:pt x="363236" y="590702"/>
                    </a:lnTo>
                    <a:cubicBezTo>
                      <a:pt x="366227" y="604399"/>
                      <a:pt x="362245" y="618096"/>
                      <a:pt x="352530" y="629793"/>
                    </a:cubicBezTo>
                    <a:cubicBezTo>
                      <a:pt x="341004" y="643804"/>
                      <a:pt x="323012" y="653034"/>
                      <a:pt x="304848" y="654253"/>
                    </a:cubicBezTo>
                    <a:lnTo>
                      <a:pt x="304848" y="703974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ihandform: Form 20">
                <a:extLst>
                  <a:ext uri="{FF2B5EF4-FFF2-40B4-BE49-F238E27FC236}">
                    <a16:creationId xmlns:a16="http://schemas.microsoft.com/office/drawing/2014/main" id="{CF5D1B88-233F-4AD8-B4A4-05538FF97FCB}"/>
                  </a:ext>
                </a:extLst>
              </p:cNvPr>
              <p:cNvSpPr/>
              <p:nvPr/>
            </p:nvSpPr>
            <p:spPr>
              <a:xfrm>
                <a:off x="7303589" y="4725102"/>
                <a:ext cx="409575" cy="733425"/>
              </a:xfrm>
              <a:custGeom>
                <a:avLst/>
                <a:gdLst>
                  <a:gd name="connsiteX0" fmla="*/ 116719 w 409575"/>
                  <a:gd name="connsiteY0" fmla="*/ 692220 h 733425"/>
                  <a:gd name="connsiteX1" fmla="*/ 120758 w 409575"/>
                  <a:gd name="connsiteY1" fmla="*/ 695268 h 733425"/>
                  <a:gd name="connsiteX2" fmla="*/ 216741 w 409575"/>
                  <a:gd name="connsiteY2" fmla="*/ 727158 h 733425"/>
                  <a:gd name="connsiteX3" fmla="*/ 218541 w 409575"/>
                  <a:gd name="connsiteY3" fmla="*/ 727158 h 733425"/>
                  <a:gd name="connsiteX4" fmla="*/ 403698 w 409575"/>
                  <a:gd name="connsiteY4" fmla="*/ 496329 h 733425"/>
                  <a:gd name="connsiteX5" fmla="*/ 233734 w 409575"/>
                  <a:gd name="connsiteY5" fmla="*/ 288369 h 733425"/>
                  <a:gd name="connsiteX6" fmla="*/ 111509 w 409575"/>
                  <a:gd name="connsiteY6" fmla="*/ 172364 h 733425"/>
                  <a:gd name="connsiteX7" fmla="*/ 179584 w 409575"/>
                  <a:gd name="connsiteY7" fmla="*/ 81486 h 733425"/>
                  <a:gd name="connsiteX8" fmla="*/ 317030 w 409575"/>
                  <a:gd name="connsiteY8" fmla="*/ 225828 h 733425"/>
                  <a:gd name="connsiteX9" fmla="*/ 361245 w 409575"/>
                  <a:gd name="connsiteY9" fmla="*/ 200435 h 733425"/>
                  <a:gd name="connsiteX10" fmla="*/ 328031 w 409575"/>
                  <a:gd name="connsiteY10" fmla="*/ 23746 h 733425"/>
                  <a:gd name="connsiteX11" fmla="*/ 272434 w 409575"/>
                  <a:gd name="connsiteY11" fmla="*/ 23746 h 733425"/>
                  <a:gd name="connsiteX12" fmla="*/ 262433 w 409575"/>
                  <a:gd name="connsiteY12" fmla="*/ 47587 h 733425"/>
                  <a:gd name="connsiteX13" fmla="*/ 258146 w 409575"/>
                  <a:gd name="connsiteY13" fmla="*/ 44453 h 733425"/>
                  <a:gd name="connsiteX14" fmla="*/ 162410 w 409575"/>
                  <a:gd name="connsiteY14" fmla="*/ 7144 h 733425"/>
                  <a:gd name="connsiteX15" fmla="*/ 7144 w 409575"/>
                  <a:gd name="connsiteY15" fmla="*/ 207778 h 733425"/>
                  <a:gd name="connsiteX16" fmla="*/ 177108 w 409575"/>
                  <a:gd name="connsiteY16" fmla="*/ 412737 h 733425"/>
                  <a:gd name="connsiteX17" fmla="*/ 304105 w 409575"/>
                  <a:gd name="connsiteY17" fmla="*/ 536772 h 733425"/>
                  <a:gd name="connsiteX18" fmla="*/ 207521 w 409575"/>
                  <a:gd name="connsiteY18" fmla="*/ 651767 h 733425"/>
                  <a:gd name="connsiteX19" fmla="*/ 206311 w 409575"/>
                  <a:gd name="connsiteY19" fmla="*/ 651767 h 733425"/>
                  <a:gd name="connsiteX20" fmla="*/ 58579 w 409575"/>
                  <a:gd name="connsiteY20" fmla="*/ 463420 h 733425"/>
                  <a:gd name="connsiteX21" fmla="*/ 7363 w 409575"/>
                  <a:gd name="connsiteY21" fmla="*/ 492624 h 733425"/>
                  <a:gd name="connsiteX22" fmla="*/ 50578 w 409575"/>
                  <a:gd name="connsiteY22" fmla="*/ 716166 h 733425"/>
                  <a:gd name="connsiteX23" fmla="*/ 106480 w 409575"/>
                  <a:gd name="connsiteY23" fmla="*/ 716166 h 733425"/>
                  <a:gd name="connsiteX24" fmla="*/ 116719 w 409575"/>
                  <a:gd name="connsiteY24" fmla="*/ 692220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09575" h="733425">
                    <a:moveTo>
                      <a:pt x="116719" y="692220"/>
                    </a:moveTo>
                    <a:lnTo>
                      <a:pt x="120758" y="695268"/>
                    </a:lnTo>
                    <a:cubicBezTo>
                      <a:pt x="145647" y="715404"/>
                      <a:pt x="180584" y="727158"/>
                      <a:pt x="216741" y="727158"/>
                    </a:cubicBezTo>
                    <a:lnTo>
                      <a:pt x="218541" y="727158"/>
                    </a:lnTo>
                    <a:cubicBezTo>
                      <a:pt x="237439" y="727158"/>
                      <a:pt x="403698" y="720661"/>
                      <a:pt x="403698" y="496329"/>
                    </a:cubicBezTo>
                    <a:cubicBezTo>
                      <a:pt x="403698" y="338795"/>
                      <a:pt x="313506" y="311963"/>
                      <a:pt x="233734" y="288369"/>
                    </a:cubicBezTo>
                    <a:cubicBezTo>
                      <a:pt x="170850" y="269672"/>
                      <a:pt x="111509" y="252070"/>
                      <a:pt x="111509" y="172364"/>
                    </a:cubicBezTo>
                    <a:cubicBezTo>
                      <a:pt x="111509" y="137246"/>
                      <a:pt x="129959" y="81486"/>
                      <a:pt x="179584" y="81486"/>
                    </a:cubicBezTo>
                    <a:cubicBezTo>
                      <a:pt x="241954" y="81486"/>
                      <a:pt x="275396" y="130016"/>
                      <a:pt x="317030" y="225828"/>
                    </a:cubicBezTo>
                    <a:lnTo>
                      <a:pt x="361245" y="200435"/>
                    </a:lnTo>
                    <a:lnTo>
                      <a:pt x="328031" y="23746"/>
                    </a:lnTo>
                    <a:lnTo>
                      <a:pt x="272434" y="23746"/>
                    </a:lnTo>
                    <a:lnTo>
                      <a:pt x="262433" y="47587"/>
                    </a:lnTo>
                    <a:lnTo>
                      <a:pt x="258146" y="44453"/>
                    </a:lnTo>
                    <a:cubicBezTo>
                      <a:pt x="229219" y="21155"/>
                      <a:pt x="193320" y="7144"/>
                      <a:pt x="162410" y="7144"/>
                    </a:cubicBezTo>
                    <a:cubicBezTo>
                      <a:pt x="47882" y="7144"/>
                      <a:pt x="7144" y="110871"/>
                      <a:pt x="7144" y="207778"/>
                    </a:cubicBezTo>
                    <a:cubicBezTo>
                      <a:pt x="7144" y="353501"/>
                      <a:pt x="97498" y="385020"/>
                      <a:pt x="177108" y="412737"/>
                    </a:cubicBezTo>
                    <a:cubicBezTo>
                      <a:pt x="242459" y="435645"/>
                      <a:pt x="304105" y="456971"/>
                      <a:pt x="304105" y="536772"/>
                    </a:cubicBezTo>
                    <a:cubicBezTo>
                      <a:pt x="304105" y="648824"/>
                      <a:pt x="217275" y="651767"/>
                      <a:pt x="207521" y="651767"/>
                    </a:cubicBezTo>
                    <a:lnTo>
                      <a:pt x="206311" y="651767"/>
                    </a:lnTo>
                    <a:cubicBezTo>
                      <a:pt x="145695" y="651767"/>
                      <a:pt x="112243" y="609429"/>
                      <a:pt x="58579" y="463420"/>
                    </a:cubicBezTo>
                    <a:lnTo>
                      <a:pt x="7363" y="492624"/>
                    </a:lnTo>
                    <a:lnTo>
                      <a:pt x="50578" y="716166"/>
                    </a:lnTo>
                    <a:lnTo>
                      <a:pt x="106480" y="716166"/>
                    </a:lnTo>
                    <a:lnTo>
                      <a:pt x="116719" y="69222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ihandform: Form 21">
                <a:extLst>
                  <a:ext uri="{FF2B5EF4-FFF2-40B4-BE49-F238E27FC236}">
                    <a16:creationId xmlns:a16="http://schemas.microsoft.com/office/drawing/2014/main" id="{B2A2F89B-F989-40B5-89C0-114BAAFB8F29}"/>
                  </a:ext>
                </a:extLst>
              </p:cNvPr>
              <p:cNvSpPr/>
              <p:nvPr/>
            </p:nvSpPr>
            <p:spPr>
              <a:xfrm>
                <a:off x="8804510" y="4736494"/>
                <a:ext cx="247650" cy="704850"/>
              </a:xfrm>
              <a:custGeom>
                <a:avLst/>
                <a:gdLst>
                  <a:gd name="connsiteX0" fmla="*/ 7144 w 247650"/>
                  <a:gd name="connsiteY0" fmla="*/ 704488 h 704850"/>
                  <a:gd name="connsiteX1" fmla="*/ 240697 w 247650"/>
                  <a:gd name="connsiteY1" fmla="*/ 704488 h 704850"/>
                  <a:gd name="connsiteX2" fmla="*/ 240697 w 247650"/>
                  <a:gd name="connsiteY2" fmla="*/ 654634 h 704850"/>
                  <a:gd name="connsiteX3" fmla="*/ 182033 w 247650"/>
                  <a:gd name="connsiteY3" fmla="*/ 592465 h 704850"/>
                  <a:gd name="connsiteX4" fmla="*/ 182033 w 247650"/>
                  <a:gd name="connsiteY4" fmla="*/ 119253 h 704850"/>
                  <a:gd name="connsiteX5" fmla="*/ 240697 w 247650"/>
                  <a:gd name="connsiteY5" fmla="*/ 56769 h 704850"/>
                  <a:gd name="connsiteX6" fmla="*/ 240697 w 247650"/>
                  <a:gd name="connsiteY6" fmla="*/ 7144 h 704850"/>
                  <a:gd name="connsiteX7" fmla="*/ 7144 w 247650"/>
                  <a:gd name="connsiteY7" fmla="*/ 7144 h 704850"/>
                  <a:gd name="connsiteX8" fmla="*/ 7144 w 247650"/>
                  <a:gd name="connsiteY8" fmla="*/ 56769 h 704850"/>
                  <a:gd name="connsiteX9" fmla="*/ 65618 w 247650"/>
                  <a:gd name="connsiteY9" fmla="*/ 119253 h 704850"/>
                  <a:gd name="connsiteX10" fmla="*/ 65618 w 247650"/>
                  <a:gd name="connsiteY10" fmla="*/ 592474 h 704850"/>
                  <a:gd name="connsiteX11" fmla="*/ 7144 w 247650"/>
                  <a:gd name="connsiteY11" fmla="*/ 654644 h 704850"/>
                  <a:gd name="connsiteX12" fmla="*/ 7144 w 247650"/>
                  <a:gd name="connsiteY12" fmla="*/ 704488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7650" h="704850">
                    <a:moveTo>
                      <a:pt x="7144" y="704488"/>
                    </a:moveTo>
                    <a:lnTo>
                      <a:pt x="240697" y="704488"/>
                    </a:lnTo>
                    <a:lnTo>
                      <a:pt x="240697" y="654634"/>
                    </a:lnTo>
                    <a:cubicBezTo>
                      <a:pt x="208131" y="652682"/>
                      <a:pt x="182033" y="625478"/>
                      <a:pt x="182033" y="592465"/>
                    </a:cubicBezTo>
                    <a:lnTo>
                      <a:pt x="182033" y="119253"/>
                    </a:lnTo>
                    <a:cubicBezTo>
                      <a:pt x="182033" y="86096"/>
                      <a:pt x="208131" y="58807"/>
                      <a:pt x="240697" y="56769"/>
                    </a:cubicBezTo>
                    <a:lnTo>
                      <a:pt x="240697" y="7144"/>
                    </a:lnTo>
                    <a:lnTo>
                      <a:pt x="7144" y="7144"/>
                    </a:lnTo>
                    <a:lnTo>
                      <a:pt x="7144" y="56769"/>
                    </a:lnTo>
                    <a:cubicBezTo>
                      <a:pt x="39777" y="58798"/>
                      <a:pt x="65618" y="86087"/>
                      <a:pt x="65618" y="119253"/>
                    </a:cubicBezTo>
                    <a:lnTo>
                      <a:pt x="65618" y="592474"/>
                    </a:lnTo>
                    <a:cubicBezTo>
                      <a:pt x="65618" y="625497"/>
                      <a:pt x="39777" y="652701"/>
                      <a:pt x="7144" y="654644"/>
                    </a:cubicBezTo>
                    <a:lnTo>
                      <a:pt x="7144" y="70448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22">
                <a:extLst>
                  <a:ext uri="{FF2B5EF4-FFF2-40B4-BE49-F238E27FC236}">
                    <a16:creationId xmlns:a16="http://schemas.microsoft.com/office/drawing/2014/main" id="{CFA5DBE1-2283-477E-9F48-8183432BD8DC}"/>
                  </a:ext>
                </a:extLst>
              </p:cNvPr>
              <p:cNvSpPr/>
              <p:nvPr/>
            </p:nvSpPr>
            <p:spPr>
              <a:xfrm>
                <a:off x="9093813" y="4604229"/>
                <a:ext cx="628650" cy="838200"/>
              </a:xfrm>
              <a:custGeom>
                <a:avLst/>
                <a:gdLst>
                  <a:gd name="connsiteX0" fmla="*/ 372999 w 628650"/>
                  <a:gd name="connsiteY0" fmla="*/ 476841 h 838200"/>
                  <a:gd name="connsiteX1" fmla="*/ 240687 w 628650"/>
                  <a:gd name="connsiteY1" fmla="*/ 476841 h 838200"/>
                  <a:gd name="connsiteX2" fmla="*/ 306924 w 628650"/>
                  <a:gd name="connsiteY2" fmla="*/ 222247 h 838200"/>
                  <a:gd name="connsiteX3" fmla="*/ 372999 w 628650"/>
                  <a:gd name="connsiteY3" fmla="*/ 476841 h 838200"/>
                  <a:gd name="connsiteX4" fmla="*/ 364550 w 628650"/>
                  <a:gd name="connsiteY4" fmla="*/ 836752 h 838200"/>
                  <a:gd name="connsiteX5" fmla="*/ 625383 w 628650"/>
                  <a:gd name="connsiteY5" fmla="*/ 836752 h 838200"/>
                  <a:gd name="connsiteX6" fmla="*/ 625383 w 628650"/>
                  <a:gd name="connsiteY6" fmla="*/ 780660 h 838200"/>
                  <a:gd name="connsiteX7" fmla="*/ 583806 w 628650"/>
                  <a:gd name="connsiteY7" fmla="*/ 727777 h 838200"/>
                  <a:gd name="connsiteX8" fmla="*/ 392601 w 628650"/>
                  <a:gd name="connsiteY8" fmla="*/ 7144 h 838200"/>
                  <a:gd name="connsiteX9" fmla="*/ 261880 w 628650"/>
                  <a:gd name="connsiteY9" fmla="*/ 7144 h 838200"/>
                  <a:gd name="connsiteX10" fmla="*/ 77085 w 628650"/>
                  <a:gd name="connsiteY10" fmla="*/ 707527 h 838200"/>
                  <a:gd name="connsiteX11" fmla="*/ 7144 w 628650"/>
                  <a:gd name="connsiteY11" fmla="*/ 783136 h 838200"/>
                  <a:gd name="connsiteX12" fmla="*/ 7144 w 628650"/>
                  <a:gd name="connsiteY12" fmla="*/ 836743 h 838200"/>
                  <a:gd name="connsiteX13" fmla="*/ 249193 w 628650"/>
                  <a:gd name="connsiteY13" fmla="*/ 836743 h 838200"/>
                  <a:gd name="connsiteX14" fmla="*/ 249193 w 628650"/>
                  <a:gd name="connsiteY14" fmla="*/ 783374 h 838200"/>
                  <a:gd name="connsiteX15" fmla="*/ 192786 w 628650"/>
                  <a:gd name="connsiteY15" fmla="*/ 752951 h 838200"/>
                  <a:gd name="connsiteX16" fmla="*/ 179032 w 628650"/>
                  <a:gd name="connsiteY16" fmla="*/ 703831 h 838200"/>
                  <a:gd name="connsiteX17" fmla="*/ 221970 w 628650"/>
                  <a:gd name="connsiteY17" fmla="*/ 549097 h 838200"/>
                  <a:gd name="connsiteX18" fmla="*/ 391620 w 628650"/>
                  <a:gd name="connsiteY18" fmla="*/ 549097 h 838200"/>
                  <a:gd name="connsiteX19" fmla="*/ 434559 w 628650"/>
                  <a:gd name="connsiteY19" fmla="*/ 703269 h 838200"/>
                  <a:gd name="connsiteX20" fmla="*/ 420862 w 628650"/>
                  <a:gd name="connsiteY20" fmla="*/ 752961 h 838200"/>
                  <a:gd name="connsiteX21" fmla="*/ 364569 w 628650"/>
                  <a:gd name="connsiteY21" fmla="*/ 783384 h 838200"/>
                  <a:gd name="connsiteX22" fmla="*/ 364569 w 628650"/>
                  <a:gd name="connsiteY22" fmla="*/ 836752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28650" h="838200">
                    <a:moveTo>
                      <a:pt x="372999" y="476841"/>
                    </a:moveTo>
                    <a:lnTo>
                      <a:pt x="240687" y="476841"/>
                    </a:lnTo>
                    <a:lnTo>
                      <a:pt x="306924" y="222247"/>
                    </a:lnTo>
                    <a:lnTo>
                      <a:pt x="372999" y="476841"/>
                    </a:lnTo>
                    <a:close/>
                    <a:moveTo>
                      <a:pt x="364550" y="836752"/>
                    </a:moveTo>
                    <a:lnTo>
                      <a:pt x="625383" y="836752"/>
                    </a:lnTo>
                    <a:lnTo>
                      <a:pt x="625383" y="780660"/>
                    </a:lnTo>
                    <a:cubicBezTo>
                      <a:pt x="604847" y="769439"/>
                      <a:pt x="589988" y="750465"/>
                      <a:pt x="583806" y="727777"/>
                    </a:cubicBezTo>
                    <a:lnTo>
                      <a:pt x="392601" y="7144"/>
                    </a:lnTo>
                    <a:lnTo>
                      <a:pt x="261880" y="7144"/>
                    </a:lnTo>
                    <a:lnTo>
                      <a:pt x="77085" y="707527"/>
                    </a:lnTo>
                    <a:cubicBezTo>
                      <a:pt x="64894" y="751675"/>
                      <a:pt x="39100" y="779164"/>
                      <a:pt x="7144" y="783136"/>
                    </a:cubicBezTo>
                    <a:lnTo>
                      <a:pt x="7144" y="836743"/>
                    </a:lnTo>
                    <a:lnTo>
                      <a:pt x="249193" y="836743"/>
                    </a:lnTo>
                    <a:lnTo>
                      <a:pt x="249193" y="783374"/>
                    </a:lnTo>
                    <a:cubicBezTo>
                      <a:pt x="227562" y="781117"/>
                      <a:pt x="206521" y="769896"/>
                      <a:pt x="192786" y="752951"/>
                    </a:cubicBezTo>
                    <a:cubicBezTo>
                      <a:pt x="180641" y="738207"/>
                      <a:pt x="175660" y="720776"/>
                      <a:pt x="179032" y="703831"/>
                    </a:cubicBezTo>
                    <a:lnTo>
                      <a:pt x="221970" y="549097"/>
                    </a:lnTo>
                    <a:lnTo>
                      <a:pt x="391620" y="549097"/>
                    </a:lnTo>
                    <a:lnTo>
                      <a:pt x="434559" y="703269"/>
                    </a:lnTo>
                    <a:cubicBezTo>
                      <a:pt x="438083" y="720785"/>
                      <a:pt x="433225" y="738207"/>
                      <a:pt x="420862" y="752961"/>
                    </a:cubicBezTo>
                    <a:cubicBezTo>
                      <a:pt x="407079" y="769906"/>
                      <a:pt x="386143" y="781126"/>
                      <a:pt x="364569" y="783384"/>
                    </a:cubicBezTo>
                    <a:lnTo>
                      <a:pt x="364569" y="83675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ihandform: Form 23">
                <a:extLst>
                  <a:ext uri="{FF2B5EF4-FFF2-40B4-BE49-F238E27FC236}">
                    <a16:creationId xmlns:a16="http://schemas.microsoft.com/office/drawing/2014/main" id="{D2A46188-63BA-489E-87B4-B91F8CE856BF}"/>
                  </a:ext>
                </a:extLst>
              </p:cNvPr>
              <p:cNvSpPr/>
              <p:nvPr/>
            </p:nvSpPr>
            <p:spPr>
              <a:xfrm>
                <a:off x="2469356" y="4581922"/>
                <a:ext cx="552450" cy="876300"/>
              </a:xfrm>
              <a:custGeom>
                <a:avLst/>
                <a:gdLst>
                  <a:gd name="connsiteX0" fmla="*/ 296951 w 552450"/>
                  <a:gd name="connsiteY0" fmla="*/ 7144 h 876300"/>
                  <a:gd name="connsiteX1" fmla="*/ 7144 w 552450"/>
                  <a:gd name="connsiteY1" fmla="*/ 439541 h 876300"/>
                  <a:gd name="connsiteX2" fmla="*/ 296951 w 552450"/>
                  <a:gd name="connsiteY2" fmla="*/ 872080 h 876300"/>
                  <a:gd name="connsiteX3" fmla="*/ 553241 w 552450"/>
                  <a:gd name="connsiteY3" fmla="*/ 641280 h 876300"/>
                  <a:gd name="connsiteX4" fmla="*/ 486127 w 552450"/>
                  <a:gd name="connsiteY4" fmla="*/ 588178 h 876300"/>
                  <a:gd name="connsiteX5" fmla="*/ 317773 w 552450"/>
                  <a:gd name="connsiteY5" fmla="*/ 781221 h 876300"/>
                  <a:gd name="connsiteX6" fmla="*/ 150190 w 552450"/>
                  <a:gd name="connsiteY6" fmla="*/ 439550 h 876300"/>
                  <a:gd name="connsiteX7" fmla="*/ 317773 w 552450"/>
                  <a:gd name="connsiteY7" fmla="*/ 97965 h 876300"/>
                  <a:gd name="connsiteX8" fmla="*/ 475593 w 552450"/>
                  <a:gd name="connsiteY8" fmla="*/ 322897 h 876300"/>
                  <a:gd name="connsiteX9" fmla="*/ 535019 w 552450"/>
                  <a:gd name="connsiteY9" fmla="*/ 286626 h 876300"/>
                  <a:gd name="connsiteX10" fmla="*/ 485785 w 552450"/>
                  <a:gd name="connsiteY10" fmla="*/ 26984 h 876300"/>
                  <a:gd name="connsiteX11" fmla="*/ 428920 w 552450"/>
                  <a:gd name="connsiteY11" fmla="*/ 26984 h 876300"/>
                  <a:gd name="connsiteX12" fmla="*/ 416747 w 552450"/>
                  <a:gd name="connsiteY12" fmla="*/ 55035 h 876300"/>
                  <a:gd name="connsiteX13" fmla="*/ 412652 w 552450"/>
                  <a:gd name="connsiteY13" fmla="*/ 51930 h 876300"/>
                  <a:gd name="connsiteX14" fmla="*/ 296951 w 552450"/>
                  <a:gd name="connsiteY14" fmla="*/ 7144 h 876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2450" h="876300">
                    <a:moveTo>
                      <a:pt x="296951" y="7144"/>
                    </a:moveTo>
                    <a:cubicBezTo>
                      <a:pt x="137112" y="7144"/>
                      <a:pt x="7144" y="201111"/>
                      <a:pt x="7144" y="439541"/>
                    </a:cubicBezTo>
                    <a:cubicBezTo>
                      <a:pt x="7144" y="677999"/>
                      <a:pt x="137112" y="872080"/>
                      <a:pt x="296951" y="872080"/>
                    </a:cubicBezTo>
                    <a:cubicBezTo>
                      <a:pt x="450418" y="872080"/>
                      <a:pt x="511064" y="761552"/>
                      <a:pt x="553241" y="641280"/>
                    </a:cubicBezTo>
                    <a:lnTo>
                      <a:pt x="486127" y="588178"/>
                    </a:lnTo>
                    <a:cubicBezTo>
                      <a:pt x="455762" y="700402"/>
                      <a:pt x="385658" y="781221"/>
                      <a:pt x="317773" y="781221"/>
                    </a:cubicBezTo>
                    <a:cubicBezTo>
                      <a:pt x="225352" y="781221"/>
                      <a:pt x="150190" y="628040"/>
                      <a:pt x="150190" y="439550"/>
                    </a:cubicBezTo>
                    <a:cubicBezTo>
                      <a:pt x="150190" y="251146"/>
                      <a:pt x="225352" y="97965"/>
                      <a:pt x="317773" y="97965"/>
                    </a:cubicBezTo>
                    <a:cubicBezTo>
                      <a:pt x="388868" y="97965"/>
                      <a:pt x="451942" y="188043"/>
                      <a:pt x="475593" y="322897"/>
                    </a:cubicBezTo>
                    <a:lnTo>
                      <a:pt x="535019" y="286626"/>
                    </a:lnTo>
                    <a:lnTo>
                      <a:pt x="485785" y="26984"/>
                    </a:lnTo>
                    <a:lnTo>
                      <a:pt x="428920" y="26984"/>
                    </a:lnTo>
                    <a:lnTo>
                      <a:pt x="416747" y="55035"/>
                    </a:lnTo>
                    <a:lnTo>
                      <a:pt x="412652" y="51930"/>
                    </a:lnTo>
                    <a:cubicBezTo>
                      <a:pt x="377885" y="23860"/>
                      <a:pt x="334604" y="7144"/>
                      <a:pt x="296951" y="7144"/>
                    </a:cubicBezTo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ihandform: Form 24">
                <a:extLst>
                  <a:ext uri="{FF2B5EF4-FFF2-40B4-BE49-F238E27FC236}">
                    <a16:creationId xmlns:a16="http://schemas.microsoft.com/office/drawing/2014/main" id="{CA7179D3-E8D4-4F19-963A-72C725DFDC89}"/>
                  </a:ext>
                </a:extLst>
              </p:cNvPr>
              <p:cNvSpPr/>
              <p:nvPr/>
            </p:nvSpPr>
            <p:spPr>
              <a:xfrm>
                <a:off x="4343610" y="4736494"/>
                <a:ext cx="514350" cy="704850"/>
              </a:xfrm>
              <a:custGeom>
                <a:avLst/>
                <a:gdLst>
                  <a:gd name="connsiteX0" fmla="*/ 347243 w 514350"/>
                  <a:gd name="connsiteY0" fmla="*/ 704488 h 704850"/>
                  <a:gd name="connsiteX1" fmla="*/ 449580 w 514350"/>
                  <a:gd name="connsiteY1" fmla="*/ 704488 h 704850"/>
                  <a:gd name="connsiteX2" fmla="*/ 449580 w 514350"/>
                  <a:gd name="connsiteY2" fmla="*/ 170802 h 704850"/>
                  <a:gd name="connsiteX3" fmla="*/ 507425 w 514350"/>
                  <a:gd name="connsiteY3" fmla="*/ 63017 h 704850"/>
                  <a:gd name="connsiteX4" fmla="*/ 507425 w 514350"/>
                  <a:gd name="connsiteY4" fmla="*/ 7144 h 704850"/>
                  <a:gd name="connsiteX5" fmla="*/ 316925 w 514350"/>
                  <a:gd name="connsiteY5" fmla="*/ 7144 h 704850"/>
                  <a:gd name="connsiteX6" fmla="*/ 316925 w 514350"/>
                  <a:gd name="connsiteY6" fmla="*/ 62513 h 704850"/>
                  <a:gd name="connsiteX7" fmla="*/ 318364 w 514350"/>
                  <a:gd name="connsiteY7" fmla="*/ 62513 h 704850"/>
                  <a:gd name="connsiteX8" fmla="*/ 372066 w 514350"/>
                  <a:gd name="connsiteY8" fmla="*/ 91097 h 704850"/>
                  <a:gd name="connsiteX9" fmla="*/ 379628 w 514350"/>
                  <a:gd name="connsiteY9" fmla="*/ 160839 h 704850"/>
                  <a:gd name="connsiteX10" fmla="*/ 379628 w 514350"/>
                  <a:gd name="connsiteY10" fmla="*/ 169821 h 704850"/>
                  <a:gd name="connsiteX11" fmla="*/ 379628 w 514350"/>
                  <a:gd name="connsiteY11" fmla="*/ 423081 h 704850"/>
                  <a:gd name="connsiteX12" fmla="*/ 216960 w 514350"/>
                  <a:gd name="connsiteY12" fmla="*/ 7144 h 704850"/>
                  <a:gd name="connsiteX13" fmla="*/ 7144 w 514350"/>
                  <a:gd name="connsiteY13" fmla="*/ 7144 h 704850"/>
                  <a:gd name="connsiteX14" fmla="*/ 7144 w 514350"/>
                  <a:gd name="connsiteY14" fmla="*/ 62513 h 704850"/>
                  <a:gd name="connsiteX15" fmla="*/ 68980 w 514350"/>
                  <a:gd name="connsiteY15" fmla="*/ 169231 h 704850"/>
                  <a:gd name="connsiteX16" fmla="*/ 68980 w 514350"/>
                  <a:gd name="connsiteY16" fmla="*/ 545849 h 704850"/>
                  <a:gd name="connsiteX17" fmla="*/ 11582 w 514350"/>
                  <a:gd name="connsiteY17" fmla="*/ 653606 h 704850"/>
                  <a:gd name="connsiteX18" fmla="*/ 11582 w 514350"/>
                  <a:gd name="connsiteY18" fmla="*/ 704507 h 704850"/>
                  <a:gd name="connsiteX19" fmla="*/ 202101 w 514350"/>
                  <a:gd name="connsiteY19" fmla="*/ 704507 h 704850"/>
                  <a:gd name="connsiteX20" fmla="*/ 202101 w 514350"/>
                  <a:gd name="connsiteY20" fmla="*/ 654148 h 704850"/>
                  <a:gd name="connsiteX21" fmla="*/ 200577 w 514350"/>
                  <a:gd name="connsiteY21" fmla="*/ 654148 h 704850"/>
                  <a:gd name="connsiteX22" fmla="*/ 146961 w 514350"/>
                  <a:gd name="connsiteY22" fmla="*/ 625735 h 704850"/>
                  <a:gd name="connsiteX23" fmla="*/ 138970 w 514350"/>
                  <a:gd name="connsiteY23" fmla="*/ 554584 h 704850"/>
                  <a:gd name="connsiteX24" fmla="*/ 138970 w 514350"/>
                  <a:gd name="connsiteY24" fmla="*/ 546897 h 704850"/>
                  <a:gd name="connsiteX25" fmla="*/ 138970 w 514350"/>
                  <a:gd name="connsiteY25" fmla="*/ 178032 h 704850"/>
                  <a:gd name="connsiteX26" fmla="*/ 347243 w 514350"/>
                  <a:gd name="connsiteY26" fmla="*/ 704488 h 70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704850">
                    <a:moveTo>
                      <a:pt x="347243" y="704488"/>
                    </a:moveTo>
                    <a:lnTo>
                      <a:pt x="449580" y="704488"/>
                    </a:lnTo>
                    <a:lnTo>
                      <a:pt x="449580" y="170802"/>
                    </a:lnTo>
                    <a:cubicBezTo>
                      <a:pt x="449580" y="94650"/>
                      <a:pt x="452009" y="71295"/>
                      <a:pt x="507425" y="63017"/>
                    </a:cubicBezTo>
                    <a:lnTo>
                      <a:pt x="507425" y="7144"/>
                    </a:lnTo>
                    <a:lnTo>
                      <a:pt x="316925" y="7144"/>
                    </a:lnTo>
                    <a:lnTo>
                      <a:pt x="316925" y="62513"/>
                    </a:lnTo>
                    <a:lnTo>
                      <a:pt x="318364" y="62513"/>
                    </a:lnTo>
                    <a:cubicBezTo>
                      <a:pt x="334604" y="64884"/>
                      <a:pt x="362455" y="71999"/>
                      <a:pt x="372066" y="91097"/>
                    </a:cubicBezTo>
                    <a:cubicBezTo>
                      <a:pt x="380257" y="107452"/>
                      <a:pt x="379857" y="138408"/>
                      <a:pt x="379628" y="160839"/>
                    </a:cubicBezTo>
                    <a:lnTo>
                      <a:pt x="379628" y="169821"/>
                    </a:lnTo>
                    <a:lnTo>
                      <a:pt x="379628" y="423081"/>
                    </a:lnTo>
                    <a:lnTo>
                      <a:pt x="216960" y="7144"/>
                    </a:lnTo>
                    <a:lnTo>
                      <a:pt x="7144" y="7144"/>
                    </a:lnTo>
                    <a:lnTo>
                      <a:pt x="7144" y="62513"/>
                    </a:lnTo>
                    <a:cubicBezTo>
                      <a:pt x="64113" y="71018"/>
                      <a:pt x="68980" y="96183"/>
                      <a:pt x="68980" y="169231"/>
                    </a:cubicBezTo>
                    <a:lnTo>
                      <a:pt x="68980" y="545849"/>
                    </a:lnTo>
                    <a:cubicBezTo>
                      <a:pt x="68980" y="617230"/>
                      <a:pt x="68980" y="644938"/>
                      <a:pt x="11582" y="653606"/>
                    </a:cubicBezTo>
                    <a:lnTo>
                      <a:pt x="11582" y="704507"/>
                    </a:lnTo>
                    <a:lnTo>
                      <a:pt x="202101" y="704507"/>
                    </a:lnTo>
                    <a:lnTo>
                      <a:pt x="202101" y="654148"/>
                    </a:lnTo>
                    <a:lnTo>
                      <a:pt x="200577" y="654148"/>
                    </a:lnTo>
                    <a:cubicBezTo>
                      <a:pt x="184337" y="651662"/>
                      <a:pt x="156562" y="644652"/>
                      <a:pt x="146961" y="625735"/>
                    </a:cubicBezTo>
                    <a:cubicBezTo>
                      <a:pt x="138627" y="608790"/>
                      <a:pt x="138855" y="577320"/>
                      <a:pt x="138970" y="554584"/>
                    </a:cubicBezTo>
                    <a:lnTo>
                      <a:pt x="138970" y="546897"/>
                    </a:lnTo>
                    <a:lnTo>
                      <a:pt x="138970" y="178032"/>
                    </a:lnTo>
                    <a:lnTo>
                      <a:pt x="347243" y="70448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ihandform: Form 25">
                <a:extLst>
                  <a:ext uri="{FF2B5EF4-FFF2-40B4-BE49-F238E27FC236}">
                    <a16:creationId xmlns:a16="http://schemas.microsoft.com/office/drawing/2014/main" id="{32C22E15-7251-4B4F-8C22-5CE3C4DF6B0B}"/>
                  </a:ext>
                </a:extLst>
              </p:cNvPr>
              <p:cNvSpPr/>
              <p:nvPr/>
            </p:nvSpPr>
            <p:spPr>
              <a:xfrm>
                <a:off x="2469413" y="5683888"/>
                <a:ext cx="7248525" cy="47625"/>
              </a:xfrm>
              <a:custGeom>
                <a:avLst/>
                <a:gdLst>
                  <a:gd name="connsiteX0" fmla="*/ 7144 w 7248525"/>
                  <a:gd name="connsiteY0" fmla="*/ 7144 h 47625"/>
                  <a:gd name="connsiteX1" fmla="*/ 7249726 w 7248525"/>
                  <a:gd name="connsiteY1" fmla="*/ 7144 h 47625"/>
                  <a:gd name="connsiteX2" fmla="*/ 7249726 w 7248525"/>
                  <a:gd name="connsiteY2" fmla="*/ 49054 h 47625"/>
                  <a:gd name="connsiteX3" fmla="*/ 7144 w 7248525"/>
                  <a:gd name="connsiteY3" fmla="*/ 4905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48525" h="47625">
                    <a:moveTo>
                      <a:pt x="7144" y="7144"/>
                    </a:moveTo>
                    <a:lnTo>
                      <a:pt x="7249726" y="7144"/>
                    </a:lnTo>
                    <a:lnTo>
                      <a:pt x="7249726" y="49054"/>
                    </a:lnTo>
                    <a:lnTo>
                      <a:pt x="7144" y="49054"/>
                    </a:lnTo>
                    <a:close/>
                  </a:path>
                </a:pathLst>
              </a:custGeom>
              <a:solidFill>
                <a:srgbClr val="D6003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pic>
          <p:nvPicPr>
            <p:cNvPr id="80" name="Picture 36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2650" y="5874358"/>
              <a:ext cx="2032426" cy="4865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460939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3CEB0-1891-4F55-9ECF-8639D33FF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209055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5956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51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B5FFAEB-14BC-4A52-905F-302D50E69D28}"/>
              </a:ext>
            </a:extLst>
          </p:cNvPr>
          <p:cNvSpPr/>
          <p:nvPr userDrawn="1"/>
        </p:nvSpPr>
        <p:spPr>
          <a:xfrm>
            <a:off x="0" y="0"/>
            <a:ext cx="12195175" cy="685799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39000">
                <a:srgbClr val="C00000">
                  <a:alpha val="70000"/>
                </a:srgbClr>
              </a:gs>
              <a:gs pos="83000">
                <a:srgbClr val="FF0000">
                  <a:alpha val="70000"/>
                </a:srgbClr>
              </a:gs>
              <a:gs pos="100000">
                <a:srgbClr val="FF0000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2091752"/>
            <a:ext cx="10964153" cy="15613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520" y="2410776"/>
            <a:ext cx="10111913" cy="923330"/>
          </a:xfrm>
        </p:spPr>
        <p:txBody>
          <a:bodyPr anchor="ctr"/>
          <a:lstStyle>
            <a:lvl1pPr algn="l">
              <a:defRPr sz="3000" b="0" cap="none" baseline="0">
                <a:solidFill>
                  <a:schemeClr val="bg2"/>
                </a:solidFill>
              </a:defRPr>
            </a:lvl1pPr>
          </a:lstStyle>
          <a:p>
            <a:r>
              <a:rPr lang="de-AT" dirty="0"/>
              <a:t>Zwischenseite</a:t>
            </a:r>
            <a:br>
              <a:rPr lang="de-AT" dirty="0"/>
            </a:br>
            <a:r>
              <a:rPr lang="de-AT" dirty="0"/>
              <a:t>zweizeilig, Arial 30 </a:t>
            </a:r>
            <a:r>
              <a:rPr lang="de-AT" dirty="0" err="1"/>
              <a:t>pt</a:t>
            </a:r>
            <a:r>
              <a:rPr lang="de-AT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82280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2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vmlDrawing" Target="../drawings/vmlDrawing15.v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oleObject" Target="../embeddings/oleObject15.bin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34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34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433853-A8B1-48C0-AAB1-1A6352F84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79299485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D19DBD4-7BDD-4B44-A826-C4C64C6091E9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AT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4DC9179-190B-40B0-B3B4-449BA757CE29}"/>
              </a:ext>
            </a:extLst>
          </p:cNvPr>
          <p:cNvSpPr/>
          <p:nvPr userDrawn="1"/>
        </p:nvSpPr>
        <p:spPr>
          <a:xfrm>
            <a:off x="0" y="6503880"/>
            <a:ext cx="12195175" cy="355063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AT" noProof="0" dirty="0"/>
          </a:p>
        </p:txBody>
      </p:sp>
      <p:cxnSp>
        <p:nvCxnSpPr>
          <p:cNvPr id="10" name="Gerader Verbinder 50">
            <a:extLst>
              <a:ext uri="{FF2B5EF4-FFF2-40B4-BE49-F238E27FC236}">
                <a16:creationId xmlns:a16="http://schemas.microsoft.com/office/drawing/2014/main" id="{867CF13B-5E4B-4F84-BFEA-784FE55594A3}"/>
              </a:ext>
            </a:extLst>
          </p:cNvPr>
          <p:cNvCxnSpPr>
            <a:cxnSpLocks/>
          </p:cNvCxnSpPr>
          <p:nvPr userDrawn="1"/>
        </p:nvCxnSpPr>
        <p:spPr>
          <a:xfrm>
            <a:off x="0" y="6503879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69">
            <a:extLst>
              <a:ext uri="{FF2B5EF4-FFF2-40B4-BE49-F238E27FC236}">
                <a16:creationId xmlns:a16="http://schemas.microsoft.com/office/drawing/2014/main" id="{AAE1E8C3-A538-4B6F-A6AE-61926BDA0F0F}"/>
              </a:ext>
            </a:extLst>
          </p:cNvPr>
          <p:cNvCxnSpPr>
            <a:cxnSpLocks/>
          </p:cNvCxnSpPr>
          <p:nvPr userDrawn="1"/>
        </p:nvCxnSpPr>
        <p:spPr>
          <a:xfrm>
            <a:off x="0" y="823964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521" y="272689"/>
            <a:ext cx="11526134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AT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521" y="1627188"/>
            <a:ext cx="11526134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520" y="6604467"/>
            <a:ext cx="414974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eaLnBrk="1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277162" y="6604467"/>
            <a:ext cx="58349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noProof="0" dirty="0"/>
              <a:t>Seite </a:t>
            </a:r>
            <a:fld id="{EAD8BBF9-45D6-42D8-AA0F-FE773831E729}" type="slidenum">
              <a:rPr lang="de-AT" noProof="0" smtClean="0"/>
              <a:pPr/>
              <a:t>‹Nr.›</a:t>
            </a:fld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777897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7" r:id="rId3"/>
    <p:sldLayoutId id="2147483689" r:id="rId4"/>
    <p:sldLayoutId id="2147483663" r:id="rId5"/>
    <p:sldLayoutId id="2147483715" r:id="rId6"/>
    <p:sldLayoutId id="2147483717" r:id="rId7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3038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orient="horz" pos="1026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433853-A8B1-48C0-AAB1-1A6352F84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5594183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8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0AA072D-0FF7-44CC-8C0B-1342ABC12D5C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AT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4DC9179-190B-40B0-B3B4-449BA757CE29}"/>
              </a:ext>
            </a:extLst>
          </p:cNvPr>
          <p:cNvSpPr/>
          <p:nvPr userDrawn="1"/>
        </p:nvSpPr>
        <p:spPr>
          <a:xfrm>
            <a:off x="0" y="6503880"/>
            <a:ext cx="12195175" cy="355063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AT" noProof="0" dirty="0"/>
          </a:p>
        </p:txBody>
      </p:sp>
      <p:cxnSp>
        <p:nvCxnSpPr>
          <p:cNvPr id="10" name="Gerader Verbinder 50">
            <a:extLst>
              <a:ext uri="{FF2B5EF4-FFF2-40B4-BE49-F238E27FC236}">
                <a16:creationId xmlns:a16="http://schemas.microsoft.com/office/drawing/2014/main" id="{867CF13B-5E4B-4F84-BFEA-784FE55594A3}"/>
              </a:ext>
            </a:extLst>
          </p:cNvPr>
          <p:cNvCxnSpPr>
            <a:cxnSpLocks/>
          </p:cNvCxnSpPr>
          <p:nvPr userDrawn="1"/>
        </p:nvCxnSpPr>
        <p:spPr>
          <a:xfrm>
            <a:off x="0" y="6503879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69">
            <a:extLst>
              <a:ext uri="{FF2B5EF4-FFF2-40B4-BE49-F238E27FC236}">
                <a16:creationId xmlns:a16="http://schemas.microsoft.com/office/drawing/2014/main" id="{AAE1E8C3-A538-4B6F-A6AE-61926BDA0F0F}"/>
              </a:ext>
            </a:extLst>
          </p:cNvPr>
          <p:cNvCxnSpPr>
            <a:cxnSpLocks/>
          </p:cNvCxnSpPr>
          <p:nvPr userDrawn="1"/>
        </p:nvCxnSpPr>
        <p:spPr>
          <a:xfrm>
            <a:off x="0" y="823964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521" y="272689"/>
            <a:ext cx="11526134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AT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521" y="1627188"/>
            <a:ext cx="11526134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520" y="6604467"/>
            <a:ext cx="414974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eaLnBrk="1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277162" y="6604467"/>
            <a:ext cx="58349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noProof="0" dirty="0"/>
              <a:t>Seite </a:t>
            </a:r>
            <a:fld id="{EAD8BBF9-45D6-42D8-AA0F-FE773831E729}" type="slidenum">
              <a:rPr lang="de-AT" noProof="0" smtClean="0"/>
              <a:pPr/>
              <a:t>‹Nr.›</a:t>
            </a:fld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467516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3038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orient="horz" pos="1026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433853-A8B1-48C0-AAB1-1A6352F84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08365592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D3913DD-E7B8-46CB-8BBD-B1FC8FB3A59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AT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4DC9179-190B-40B0-B3B4-449BA757CE29}"/>
              </a:ext>
            </a:extLst>
          </p:cNvPr>
          <p:cNvSpPr/>
          <p:nvPr userDrawn="1"/>
        </p:nvSpPr>
        <p:spPr>
          <a:xfrm>
            <a:off x="0" y="6503880"/>
            <a:ext cx="12195175" cy="355063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AT" noProof="0" dirty="0"/>
          </a:p>
        </p:txBody>
      </p:sp>
      <p:cxnSp>
        <p:nvCxnSpPr>
          <p:cNvPr id="10" name="Gerader Verbinder 50">
            <a:extLst>
              <a:ext uri="{FF2B5EF4-FFF2-40B4-BE49-F238E27FC236}">
                <a16:creationId xmlns:a16="http://schemas.microsoft.com/office/drawing/2014/main" id="{867CF13B-5E4B-4F84-BFEA-784FE55594A3}"/>
              </a:ext>
            </a:extLst>
          </p:cNvPr>
          <p:cNvCxnSpPr>
            <a:cxnSpLocks/>
          </p:cNvCxnSpPr>
          <p:nvPr userDrawn="1"/>
        </p:nvCxnSpPr>
        <p:spPr>
          <a:xfrm>
            <a:off x="0" y="6503879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69">
            <a:extLst>
              <a:ext uri="{FF2B5EF4-FFF2-40B4-BE49-F238E27FC236}">
                <a16:creationId xmlns:a16="http://schemas.microsoft.com/office/drawing/2014/main" id="{AAE1E8C3-A538-4B6F-A6AE-61926BDA0F0F}"/>
              </a:ext>
            </a:extLst>
          </p:cNvPr>
          <p:cNvCxnSpPr>
            <a:cxnSpLocks/>
          </p:cNvCxnSpPr>
          <p:nvPr userDrawn="1"/>
        </p:nvCxnSpPr>
        <p:spPr>
          <a:xfrm>
            <a:off x="0" y="823964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521" y="272689"/>
            <a:ext cx="11526134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AT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521" y="1627188"/>
            <a:ext cx="11526134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520" y="6604467"/>
            <a:ext cx="414974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eaLnBrk="1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277162" y="6604467"/>
            <a:ext cx="58349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noProof="0" dirty="0"/>
              <a:t>Seite </a:t>
            </a:r>
            <a:fld id="{EAD8BBF9-45D6-42D8-AA0F-FE773831E729}" type="slidenum">
              <a:rPr lang="de-AT" noProof="0" smtClean="0"/>
              <a:pPr/>
              <a:t>‹Nr.›</a:t>
            </a:fld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829934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714" r:id="rId5"/>
    <p:sldLayoutId id="2147483696" r:id="rId6"/>
    <p:sldLayoutId id="2147483697" r:id="rId7"/>
    <p:sldLayoutId id="2147483700" r:id="rId8"/>
    <p:sldLayoutId id="2147483701" r:id="rId9"/>
    <p:sldLayoutId id="2147483698" r:id="rId10"/>
    <p:sldLayoutId id="2147483699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20" r:id="rId18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3038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orient="horz" pos="1026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433853-A8B1-48C0-AAB1-1A6352F84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2113034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2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80F2F7C-C4A0-44C2-BA1B-FA63AB85010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AT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4DC9179-190B-40B0-B3B4-449BA757CE29}"/>
              </a:ext>
            </a:extLst>
          </p:cNvPr>
          <p:cNvSpPr/>
          <p:nvPr userDrawn="1"/>
        </p:nvSpPr>
        <p:spPr>
          <a:xfrm>
            <a:off x="0" y="6503880"/>
            <a:ext cx="12195175" cy="355063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AT" noProof="0" dirty="0"/>
          </a:p>
        </p:txBody>
      </p:sp>
      <p:cxnSp>
        <p:nvCxnSpPr>
          <p:cNvPr id="10" name="Gerader Verbinder 50">
            <a:extLst>
              <a:ext uri="{FF2B5EF4-FFF2-40B4-BE49-F238E27FC236}">
                <a16:creationId xmlns:a16="http://schemas.microsoft.com/office/drawing/2014/main" id="{867CF13B-5E4B-4F84-BFEA-784FE55594A3}"/>
              </a:ext>
            </a:extLst>
          </p:cNvPr>
          <p:cNvCxnSpPr>
            <a:cxnSpLocks/>
          </p:cNvCxnSpPr>
          <p:nvPr userDrawn="1"/>
        </p:nvCxnSpPr>
        <p:spPr>
          <a:xfrm>
            <a:off x="0" y="6503879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69">
            <a:extLst>
              <a:ext uri="{FF2B5EF4-FFF2-40B4-BE49-F238E27FC236}">
                <a16:creationId xmlns:a16="http://schemas.microsoft.com/office/drawing/2014/main" id="{AAE1E8C3-A538-4B6F-A6AE-61926BDA0F0F}"/>
              </a:ext>
            </a:extLst>
          </p:cNvPr>
          <p:cNvCxnSpPr>
            <a:cxnSpLocks/>
          </p:cNvCxnSpPr>
          <p:nvPr userDrawn="1"/>
        </p:nvCxnSpPr>
        <p:spPr>
          <a:xfrm>
            <a:off x="0" y="823964"/>
            <a:ext cx="12195175" cy="0"/>
          </a:xfrm>
          <a:prstGeom prst="line">
            <a:avLst/>
          </a:prstGeom>
          <a:ln w="9525">
            <a:solidFill>
              <a:srgbClr val="D7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521" y="272689"/>
            <a:ext cx="11526134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AT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521" y="1627188"/>
            <a:ext cx="11526134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520" y="6604467"/>
            <a:ext cx="414974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eaLnBrk="1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AT" noProof="0"/>
              <a:t>Vertraulich, 13.11.2019</a:t>
            </a:r>
            <a:endParaRPr lang="de-AT" noProof="0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277162" y="6604467"/>
            <a:ext cx="58349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noProof="0" dirty="0"/>
              <a:t>Seite </a:t>
            </a:r>
            <a:fld id="{EAD8BBF9-45D6-42D8-AA0F-FE773831E729}" type="slidenum">
              <a:rPr lang="de-AT" noProof="0" smtClean="0"/>
              <a:pPr/>
              <a:t>‹Nr.›</a:t>
            </a:fld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452588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8" r:id="rId3"/>
    <p:sldLayoutId id="2147483679" r:id="rId4"/>
    <p:sldLayoutId id="2147483683" r:id="rId5"/>
    <p:sldLayoutId id="2147483680" r:id="rId6"/>
    <p:sldLayoutId id="2147483684" r:id="rId7"/>
    <p:sldLayoutId id="2147483681" r:id="rId8"/>
    <p:sldLayoutId id="2147483685" r:id="rId9"/>
    <p:sldLayoutId id="2147483682" r:id="rId10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3038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orient="horz" pos="1026" userDrawn="1">
          <p15:clr>
            <a:srgbClr val="F26B43"/>
          </p15:clr>
        </p15:guide>
        <p15:guide id="3" orient="horz" pos="379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56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7F32BBA9-133F-4344-A72E-F3B3759B23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228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0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 hidden="1">
            <a:extLst>
              <a:ext uri="{FF2B5EF4-FFF2-40B4-BE49-F238E27FC236}">
                <a16:creationId xmlns:a16="http://schemas.microsoft.com/office/drawing/2014/main" id="{2D514AAB-1B6C-4599-8B64-BDFFFEDA89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AT" sz="20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5D3776-2CDB-4E47-A06E-F0B389689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4606FF-50BC-4C6D-8295-FE42A9E936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 dirty="0"/>
              <a:t>Vertraulich, TT.MM.YYYY</a:t>
            </a:r>
          </a:p>
        </p:txBody>
      </p:sp>
    </p:spTree>
    <p:extLst>
      <p:ext uri="{BB962C8B-B14F-4D97-AF65-F5344CB8AC3E}">
        <p14:creationId xmlns:p14="http://schemas.microsoft.com/office/powerpoint/2010/main" val="38125611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7F32BBA9-133F-4344-A72E-F3B3759B23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156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4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7F32BBA9-133F-4344-A72E-F3B3759B2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 hidden="1">
            <a:extLst>
              <a:ext uri="{FF2B5EF4-FFF2-40B4-BE49-F238E27FC236}">
                <a16:creationId xmlns:a16="http://schemas.microsoft.com/office/drawing/2014/main" id="{2D514AAB-1B6C-4599-8B64-BDFFFEDA89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AT" sz="20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892D2FA-6BCD-4FCD-A4FB-15C852E96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4606FF-50BC-4C6D-8295-FE42A9E936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 noProof="0" dirty="0"/>
              <a:t>Vertraulich, TT.MM.YYYY</a:t>
            </a:r>
          </a:p>
        </p:txBody>
      </p:sp>
    </p:spTree>
    <p:extLst>
      <p:ext uri="{BB962C8B-B14F-4D97-AF65-F5344CB8AC3E}">
        <p14:creationId xmlns:p14="http://schemas.microsoft.com/office/powerpoint/2010/main" val="3108334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1&quot; g=&quot;E1&quot; b=&quot;E1&quot;/&gt;&lt;m_nBrightness val=&quot;0&quot;/&gt;&lt;/elem&gt;&lt;/m_vecMRU&gt;&lt;/m_mruColor&gt;&lt;m_eweekdayFirstOfWeek val=&quot;2&quot;/&gt;&lt;m_eweekdayFirstOfWorkweek val=&quot;7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7XtngNQq.OjZDnqBDZ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eik3JDuLPvxDSSv2D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3uDhAESTCbab5NmZgl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zOL97fstbS6EP27GCW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Lat58KTIevHn.QTBQS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X.MXH14vK5Mw7ze8VP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7efXtpFHiSsYlZnl_P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01BuhuTOKwb5wVNErX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IDZXcAPev6PVj58YRo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IDZXcAPev6PVj58YRo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UOwb9WQQqFUyNQIMwO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SAG Gruppe">
  <a:themeElements>
    <a:clrScheme name="Casinos Austria 2018">
      <a:dk1>
        <a:sysClr val="windowText" lastClr="000000"/>
      </a:dk1>
      <a:lt1>
        <a:sysClr val="window" lastClr="FFFFFF"/>
      </a:lt1>
      <a:dk2>
        <a:srgbClr val="0A872D"/>
      </a:dk2>
      <a:lt2>
        <a:srgbClr val="D70032"/>
      </a:lt2>
      <a:accent1>
        <a:srgbClr val="E1E1E1"/>
      </a:accent1>
      <a:accent2>
        <a:srgbClr val="C8C8C8"/>
      </a:accent2>
      <a:accent3>
        <a:srgbClr val="A5A5A5"/>
      </a:accent3>
      <a:accent4>
        <a:srgbClr val="8C8C8C"/>
      </a:accent4>
      <a:accent5>
        <a:srgbClr val="737373"/>
      </a:accent5>
      <a:accent6>
        <a:srgbClr val="505050"/>
      </a:accent6>
      <a:hlink>
        <a:srgbClr val="505050"/>
      </a:hlink>
      <a:folHlink>
        <a:srgbClr val="A5A5A5"/>
      </a:folHlink>
    </a:clrScheme>
    <a:fontScheme name="Casinos Austria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inos_Austria_Lotterien_Gruppe_16_9.pptx" id="{957DDF55-8208-4BE7-9334-2049EDBB02DE}" vid="{C44ED9DE-5C13-4394-8C1A-5B5AAA8A328D}"/>
    </a:ext>
  </a:extLst>
</a:theme>
</file>

<file path=ppt/theme/theme2.xml><?xml version="1.0" encoding="utf-8"?>
<a:theme xmlns:a="http://schemas.openxmlformats.org/drawingml/2006/main" name="CASAG + ÖLG">
  <a:themeElements>
    <a:clrScheme name="Casinos Austria 2018">
      <a:dk1>
        <a:sysClr val="windowText" lastClr="000000"/>
      </a:dk1>
      <a:lt1>
        <a:sysClr val="window" lastClr="FFFFFF"/>
      </a:lt1>
      <a:dk2>
        <a:srgbClr val="0A872D"/>
      </a:dk2>
      <a:lt2>
        <a:srgbClr val="D70032"/>
      </a:lt2>
      <a:accent1>
        <a:srgbClr val="E1E1E1"/>
      </a:accent1>
      <a:accent2>
        <a:srgbClr val="C8C8C8"/>
      </a:accent2>
      <a:accent3>
        <a:srgbClr val="A5A5A5"/>
      </a:accent3>
      <a:accent4>
        <a:srgbClr val="8C8C8C"/>
      </a:accent4>
      <a:accent5>
        <a:srgbClr val="737373"/>
      </a:accent5>
      <a:accent6>
        <a:srgbClr val="505050"/>
      </a:accent6>
      <a:hlink>
        <a:srgbClr val="505050"/>
      </a:hlink>
      <a:folHlink>
        <a:srgbClr val="A5A5A5"/>
      </a:folHlink>
    </a:clrScheme>
    <a:fontScheme name="Casinos Austria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inos_Austria_Lotterien_Gruppe_16_9.pptx" id="{957DDF55-8208-4BE7-9334-2049EDBB02DE}" vid="{791D6123-90EC-4CCA-B092-FEA0B76E6AEF}"/>
    </a:ext>
  </a:extLst>
</a:theme>
</file>

<file path=ppt/theme/theme3.xml><?xml version="1.0" encoding="utf-8"?>
<a:theme xmlns:a="http://schemas.openxmlformats.org/drawingml/2006/main" name="CASAG 2018">
  <a:themeElements>
    <a:clrScheme name="Casinos Austria 2018">
      <a:dk1>
        <a:sysClr val="windowText" lastClr="000000"/>
      </a:dk1>
      <a:lt1>
        <a:sysClr val="window" lastClr="FFFFFF"/>
      </a:lt1>
      <a:dk2>
        <a:srgbClr val="0A872D"/>
      </a:dk2>
      <a:lt2>
        <a:srgbClr val="D70032"/>
      </a:lt2>
      <a:accent1>
        <a:srgbClr val="E1E1E1"/>
      </a:accent1>
      <a:accent2>
        <a:srgbClr val="C8C8C8"/>
      </a:accent2>
      <a:accent3>
        <a:srgbClr val="A5A5A5"/>
      </a:accent3>
      <a:accent4>
        <a:srgbClr val="8C8C8C"/>
      </a:accent4>
      <a:accent5>
        <a:srgbClr val="737373"/>
      </a:accent5>
      <a:accent6>
        <a:srgbClr val="505050"/>
      </a:accent6>
      <a:hlink>
        <a:srgbClr val="505050"/>
      </a:hlink>
      <a:folHlink>
        <a:srgbClr val="A5A5A5"/>
      </a:folHlink>
    </a:clrScheme>
    <a:fontScheme name="Casinos Austria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inos_Austria_Lotterien_Gruppe_16_9.pptx" id="{957DDF55-8208-4BE7-9334-2049EDBB02DE}" vid="{DEDB793D-6323-4FA8-8574-EE77DA3A3A6B}"/>
    </a:ext>
  </a:extLst>
</a:theme>
</file>

<file path=ppt/theme/theme4.xml><?xml version="1.0" encoding="utf-8"?>
<a:theme xmlns:a="http://schemas.openxmlformats.org/drawingml/2006/main" name="ÖLG 2018">
  <a:themeElements>
    <a:clrScheme name="Casinos Austria 2018">
      <a:dk1>
        <a:sysClr val="windowText" lastClr="000000"/>
      </a:dk1>
      <a:lt1>
        <a:sysClr val="window" lastClr="FFFFFF"/>
      </a:lt1>
      <a:dk2>
        <a:srgbClr val="0A872D"/>
      </a:dk2>
      <a:lt2>
        <a:srgbClr val="D70032"/>
      </a:lt2>
      <a:accent1>
        <a:srgbClr val="E1E1E1"/>
      </a:accent1>
      <a:accent2>
        <a:srgbClr val="C8C8C8"/>
      </a:accent2>
      <a:accent3>
        <a:srgbClr val="A5A5A5"/>
      </a:accent3>
      <a:accent4>
        <a:srgbClr val="8C8C8C"/>
      </a:accent4>
      <a:accent5>
        <a:srgbClr val="737373"/>
      </a:accent5>
      <a:accent6>
        <a:srgbClr val="505050"/>
      </a:accent6>
      <a:hlink>
        <a:srgbClr val="505050"/>
      </a:hlink>
      <a:folHlink>
        <a:srgbClr val="A5A5A5"/>
      </a:folHlink>
    </a:clrScheme>
    <a:fontScheme name="Casinos Austria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inos_Austria_Lotterien_Gruppe_16_9.pptx" id="{957DDF55-8208-4BE7-9334-2049EDBB02DE}" vid="{B052872B-14CD-4060-80D4-78D32A6EBD23}"/>
    </a:ext>
  </a:extLst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sinos_Austria_Lotterien Gruppe_16_9</Template>
  <TotalTime>0</TotalTime>
  <Words>14</Words>
  <Application>Microsoft Office PowerPoint</Application>
  <PresentationFormat>Benutzerdefiniert</PresentationFormat>
  <Paragraphs>2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1" baseType="lpstr">
      <vt:lpstr>Arial</vt:lpstr>
      <vt:lpstr>Calibri</vt:lpstr>
      <vt:lpstr>Symbol</vt:lpstr>
      <vt:lpstr>Wingdings</vt:lpstr>
      <vt:lpstr>CASAG Gruppe</vt:lpstr>
      <vt:lpstr>CASAG + ÖLG</vt:lpstr>
      <vt:lpstr>CASAG 2018</vt:lpstr>
      <vt:lpstr>ÖLG 2018</vt:lpstr>
      <vt:lpstr>think-cell Foli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lage  AR-Strategie Sitzung</dc:title>
  <dc:creator>Kubalek Katrin</dc:creator>
  <cp:lastModifiedBy>Paseka Anna</cp:lastModifiedBy>
  <cp:revision>6</cp:revision>
  <dcterms:created xsi:type="dcterms:W3CDTF">2019-10-07T15:27:00Z</dcterms:created>
  <dcterms:modified xsi:type="dcterms:W3CDTF">2020-06-15T12:22:50Z</dcterms:modified>
</cp:coreProperties>
</file>